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theme/theme5.xml" ContentType="application/vnd.openxmlformats-officedocument.theme+xml"/>
  <Override PartName="/ppt/tags/tag140.xml" ContentType="application/vnd.openxmlformats-officedocument.presentationml.tags+xml"/>
  <Override PartName="/ppt/tags/tag238.xml" ContentType="application/vnd.openxmlformats-officedocument.presentationml.tags+xml"/>
  <Override PartName="/ppt/tags/tag285.xml" ContentType="application/vnd.openxmlformats-officedocument.presentationml.tags+xml"/>
  <Override PartName="/ppt/slideLayouts/slideLayout46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16.xml" ContentType="application/vnd.openxmlformats-officedocument.presentationml.tags+xml"/>
  <Override PartName="/ppt/tags/tag263.xml" ContentType="application/vnd.openxmlformats-officedocument.presentationml.tags+xml"/>
  <Override PartName="/ppt/slideLayouts/slideLayout124.xml" ContentType="application/vnd.openxmlformats-officedocument.presentationml.slideLayout+xml"/>
  <Override PartName="/ppt/slideLayouts/slideLayout171.xml" ContentType="application/vnd.openxmlformats-officedocument.presentationml.slideLayout+xml"/>
  <Default Extension="xml" ContentType="application/xml"/>
  <Override PartName="/ppt/slideLayouts/slideLayout24.xml" ContentType="application/vnd.openxmlformats-officedocument.presentationml.slideLayout+xml"/>
  <Override PartName="/ppt/tags/tag38.xml" ContentType="application/vnd.openxmlformats-officedocument.presentationml.tags+xml"/>
  <Override PartName="/ppt/tags/tag85.xml" ContentType="application/vnd.openxmlformats-officedocument.presentationml.tags+xml"/>
  <Override PartName="/ppt/slideLayouts/slideLayout71.xml" ContentType="application/vnd.openxmlformats-officedocument.presentationml.slideLayout+xml"/>
  <Override PartName="/ppt/tags/tag241.xml" ContentType="application/vnd.openxmlformats-officedocument.presentationml.tags+xml"/>
  <Override PartName="/ppt/tags/tag339.xml" ContentType="application/vnd.openxmlformats-officedocument.presentationml.tags+xml"/>
  <Override PartName="/ppt/tags/tag386.xml" ContentType="application/vnd.openxmlformats-officedocument.presentationml.tags+xml"/>
  <Override PartName="/ppt/tags/tag16.xml" ContentType="application/vnd.openxmlformats-officedocument.presentationml.tags+xml"/>
  <Override PartName="/ppt/tags/tag63.xml" ContentType="application/vnd.openxmlformats-officedocument.presentationml.tags+xml"/>
  <Override PartName="/ppt/tags/tag178.xml" ContentType="application/vnd.openxmlformats-officedocument.presentationml.tags+xml"/>
  <Override PartName="/ppt/slideLayouts/slideLayout102.xml" ContentType="application/vnd.openxmlformats-officedocument.presentationml.slideLayout+xml"/>
  <Override PartName="/ppt/tags/tag317.xml" ContentType="application/vnd.openxmlformats-officedocument.presentationml.tags+xml"/>
  <Override PartName="/ppt/tags/tag364.xml" ContentType="application/vnd.openxmlformats-officedocument.presentationml.tags+xml"/>
  <Override PartName="/ppt/slideMasters/slideMaster8.xml" ContentType="application/vnd.openxmlformats-officedocument.presentationml.slideMaster+xml"/>
  <Override PartName="/ppt/tags/tag109.xml" ContentType="application/vnd.openxmlformats-officedocument.presentationml.tags+xml"/>
  <Override PartName="/ppt/tags/tag156.xml" ContentType="application/vnd.openxmlformats-officedocument.presentationml.tags+xml"/>
  <Override PartName="/ppt/tags/tag41.xml" ContentType="application/vnd.openxmlformats-officedocument.presentationml.tags+xml"/>
  <Override PartName="/ppt/tags/tag279.xml" ContentType="application/vnd.openxmlformats-officedocument.presentationml.tags+xml"/>
  <Override PartName="/ppt/tags/tag342.xml" ContentType="application/vnd.openxmlformats-officedocument.presentationml.tags+xml"/>
  <Override PartName="/ppt/diagrams/data2.xml" ContentType="application/vnd.openxmlformats-officedocument.drawingml.diagramData+xml"/>
  <Override PartName="/ppt/slideLayouts/slideLayout87.xml" ContentType="application/vnd.openxmlformats-officedocument.presentationml.slideLayout+xml"/>
  <Override PartName="/ppt/tags/tag134.xml" ContentType="application/vnd.openxmlformats-officedocument.presentationml.tags+xml"/>
  <Override PartName="/ppt/tags/tag181.xml" ContentType="application/vnd.openxmlformats-officedocument.presentationml.tags+xml"/>
  <Override PartName="/ppt/tags/tag320.xml" ContentType="application/vnd.openxmlformats-officedocument.presentationml.tags+xml"/>
  <Override PartName="/ppt/theme/theme10.xml" ContentType="application/vnd.openxmlformats-officedocument.theme+xml"/>
  <Override PartName="/ppt/slides/slide19.xml" ContentType="application/vnd.openxmlformats-officedocument.presentationml.slide+xml"/>
  <Default Extension="png" ContentType="image/png"/>
  <Override PartName="/ppt/tags/tag112.xml" ContentType="application/vnd.openxmlformats-officedocument.presentationml.tags+xml"/>
  <Override PartName="/ppt/slideLayouts/slideLayout118.xml" ContentType="application/vnd.openxmlformats-officedocument.presentationml.slideLayout+xml"/>
  <Override PartName="/ppt/tags/tag257.xml" ContentType="application/vnd.openxmlformats-officedocument.presentationml.tags+xml"/>
  <Override PartName="/ppt/slideLayouts/slideLayout16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slideLayouts/slideLayout65.xml" ContentType="application/vnd.openxmlformats-officedocument.presentationml.slideLayout+xml"/>
  <Override PartName="/ppt/diagrams/quickStyle3.xml" ContentType="application/vnd.openxmlformats-officedocument.drawingml.diagramStyle+xml"/>
  <Default Extension="emf" ContentType="image/x-emf"/>
  <Override PartName="/ppt/slideLayouts/slideLayout43.xml" ContentType="application/vnd.openxmlformats-officedocument.presentationml.slideLayout+xml"/>
  <Override PartName="/ppt/slideLayouts/slideLayout90.xml" ContentType="application/vnd.openxmlformats-officedocument.presentationml.slideLayout+xml"/>
  <Override PartName="/ppt/tags/tag235.xml" ContentType="application/vnd.openxmlformats-officedocument.presentationml.tags+xml"/>
  <Override PartName="/ppt/tags/tag282.xml" ContentType="application/vnd.openxmlformats-officedocument.presentationml.tags+xml"/>
  <Override PartName="/ppt/slideLayouts/slideLayout143.xml" ContentType="application/vnd.openxmlformats-officedocument.presentationml.slideLayout+xml"/>
  <Override PartName="/ppt/slides/slide22.xml" ContentType="application/vnd.openxmlformats-officedocument.presentationml.slide+xml"/>
  <Override PartName="/ppt/tags/tag57.xml" ContentType="application/vnd.openxmlformats-officedocument.presentationml.tags+xml"/>
  <Override PartName="/ppt/tags/tag213.xml" ContentType="application/vnd.openxmlformats-officedocument.presentationml.tags+xml"/>
  <Override PartName="/ppt/tags/tag260.xml" ContentType="application/vnd.openxmlformats-officedocument.presentationml.tags+xml"/>
  <Override PartName="/ppt/tags/tag358.xml" ContentType="application/vnd.openxmlformats-officedocument.presentationml.tags+xml"/>
  <Override PartName="/ppt/slideLayouts/slideLayout21.xml" ContentType="application/vnd.openxmlformats-officedocument.presentationml.slideLayout+xml"/>
  <Override PartName="/ppt/tags/tag35.xml" ContentType="application/vnd.openxmlformats-officedocument.presentationml.tags+xml"/>
  <Override PartName="/ppt/tags/tag82.xml" ContentType="application/vnd.openxmlformats-officedocument.presentationml.tags+xml"/>
  <Override PartName="/ppt/tags/tag197.xml" ContentType="application/vnd.openxmlformats-officedocument.presentationml.tags+xml"/>
  <Override PartName="/ppt/slideLayouts/slideLayout121.xml" ContentType="application/vnd.openxmlformats-officedocument.presentationml.slideLayout+xml"/>
  <Override PartName="/ppt/tags/tag336.xml" ContentType="application/vnd.openxmlformats-officedocument.presentationml.tags+xml"/>
  <Override PartName="/ppt/tags/tag383.xml" ContentType="application/vnd.openxmlformats-officedocument.presentationml.tags+xml"/>
  <Override PartName="/ppt/tags/tag128.xml" ContentType="application/vnd.openxmlformats-officedocument.presentationml.tags+xml"/>
  <Override PartName="/ppt/tags/tag175.xml" ContentType="application/vnd.openxmlformats-officedocument.presentationml.tags+xml"/>
  <Override PartName="/ppt/tags/tag13.xml" ContentType="application/vnd.openxmlformats-officedocument.presentationml.tags+xml"/>
  <Override PartName="/ppt/tags/tag60.xml" ContentType="application/vnd.openxmlformats-officedocument.presentationml.tags+xml"/>
  <Override PartName="/ppt/tags/tag298.xml" ContentType="application/vnd.openxmlformats-officedocument.presentationml.tags+xml"/>
  <Override PartName="/ppt/tags/tag314.xml" ContentType="application/vnd.openxmlformats-officedocument.presentationml.tags+xml"/>
  <Override PartName="/ppt/tags/tag361.xml" ContentType="application/vnd.openxmlformats-officedocument.presentationml.tags+xml"/>
  <Override PartName="/ppt/slideMasters/slideMaster5.xml" ContentType="application/vnd.openxmlformats-officedocument.presentationml.slideMaster+xml"/>
  <Override PartName="/ppt/tags/tag106.xml" ContentType="application/vnd.openxmlformats-officedocument.presentationml.tags+xml"/>
  <Override PartName="/ppt/slideLayouts/slideLayout59.xml" ContentType="application/vnd.openxmlformats-officedocument.presentationml.slideLayout+xml"/>
  <Override PartName="/ppt/tags/tag153.xml" ContentType="application/vnd.openxmlformats-officedocument.presentationml.tags+xml"/>
  <Override PartName="/ppt/slideLayouts/slideLayout159.xml" ContentType="application/vnd.openxmlformats-officedocument.presentationml.slideLayout+xml"/>
  <Override PartName="/ppt/notesSlides/notesSlide4.xml" ContentType="application/vnd.openxmlformats-officedocument.presentationml.notesSlide+xml"/>
  <Override PartName="/ppt/tags/tag131.xml" ContentType="application/vnd.openxmlformats-officedocument.presentationml.tags+xml"/>
  <Override PartName="/ppt/tags/tag229.xml" ContentType="application/vnd.openxmlformats-officedocument.presentationml.tags+xml"/>
  <Override PartName="/ppt/tags/tag276.xml" ContentType="application/vnd.openxmlformats-officedocument.presentationml.tags+xml"/>
  <Override PartName="/ppt/slideLayouts/slideLayout137.xml" ContentType="application/vnd.openxmlformats-officedocument.presentationml.slideLayout+xml"/>
  <Override PartName="/ppt/diagrams/colors1.xml" ContentType="application/vnd.openxmlformats-officedocument.drawingml.diagramColors+xml"/>
  <Override PartName="/ppt/slideLayouts/slideLayout37.xml" ContentType="application/vnd.openxmlformats-officedocument.presentationml.slideLayout+xml"/>
  <Override PartName="/ppt/tags/tag98.xml" ContentType="application/vnd.openxmlformats-officedocument.presentationml.tags+xml"/>
  <Override PartName="/ppt/slideLayouts/slideLayout84.xml" ContentType="application/vnd.openxmlformats-officedocument.presentationml.slideLayout+xml"/>
  <Override PartName="/ppt/tags/tag207.xml" ContentType="application/vnd.openxmlformats-officedocument.presentationml.tags+xml"/>
  <Override PartName="/ppt/tags/tag254.xml" ContentType="application/vnd.openxmlformats-officedocument.presentationml.tags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62.xml" ContentType="application/vnd.openxmlformats-officedocument.presentationml.slideLayout+xml"/>
  <Override PartName="/ppt/tags/tag29.xml" ContentType="application/vnd.openxmlformats-officedocument.presentationml.tags+xml"/>
  <Override PartName="/ppt/tags/tag76.xml" ContentType="application/vnd.openxmlformats-officedocument.presentationml.tags+xml"/>
  <Override PartName="/ppt/tags/tag232.xml" ContentType="application/vnd.openxmlformats-officedocument.presentationml.tags+xml"/>
  <Override PartName="/ppt/slideLayouts/slideLayout140.xml" ContentType="application/vnd.openxmlformats-officedocument.presentationml.slideLayout+xml"/>
  <Override PartName="/ppt/tags/tag377.xml" ContentType="application/vnd.openxmlformats-officedocument.presentationml.tags+xml"/>
  <Override PartName="/ppt/slideLayouts/slideLayout40.xml" ContentType="application/vnd.openxmlformats-officedocument.presentationml.slideLayout+xml"/>
  <Override PartName="/ppt/tags/tag54.xml" ContentType="application/vnd.openxmlformats-officedocument.presentationml.tags+xml"/>
  <Override PartName="/ppt/tags/tag169.xml" ContentType="application/vnd.openxmlformats-officedocument.presentationml.tags+xml"/>
  <Override PartName="/ppt/tags/tag210.xml" ContentType="application/vnd.openxmlformats-officedocument.presentationml.tags+xml"/>
  <Override PartName="/ppt/tags/tag308.xml" ContentType="application/vnd.openxmlformats-officedocument.presentationml.tags+xml"/>
  <Override PartName="/ppt/tags/tag355.xml" ContentType="application/vnd.openxmlformats-officedocument.presentationml.tags+xml"/>
  <Override PartName="/ppt/tags/tag147.xml" ContentType="application/vnd.openxmlformats-officedocument.presentationml.tags+xml"/>
  <Override PartName="/ppt/tags/tag194.xml" ContentType="application/vnd.openxmlformats-officedocument.presentationml.tags+xml"/>
  <Override PartName="/ppt/diagrams/layout3.xml" ContentType="application/vnd.openxmlformats-officedocument.drawingml.diagramLayout+xml"/>
  <Override PartName="/ppt/tags/tag32.xml" ContentType="application/vnd.openxmlformats-officedocument.presentationml.tags+xml"/>
  <Override PartName="/ppt/tags/tag333.xml" ContentType="application/vnd.openxmlformats-officedocument.presentationml.tags+xml"/>
  <Override PartName="/ppt/tags/tag380.xml" ContentType="application/vnd.openxmlformats-officedocument.presentationml.tag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125.xml" ContentType="application/vnd.openxmlformats-officedocument.presentationml.tags+xml"/>
  <Override PartName="/ppt/slideLayouts/slideLayout78.xml" ContentType="application/vnd.openxmlformats-officedocument.presentationml.slideLayout+xml"/>
  <Override PartName="/ppt/tags/tag172.xml" ContentType="application/vnd.openxmlformats-officedocument.presentationml.tags+xml"/>
  <Override PartName="/ppt/tags/tag311.xml" ContentType="application/vnd.openxmlformats-officedocument.presentationml.tags+xml"/>
  <Override PartName="/ppt/slideMasters/slideMaster2.xml" ContentType="application/vnd.openxmlformats-officedocument.presentationml.slideMaster+xml"/>
  <Override PartName="/ppt/tags/tag103.xml" ContentType="application/vnd.openxmlformats-officedocument.presentationml.tags+xml"/>
  <Override PartName="/ppt/tags/tag150.xml" ContentType="application/vnd.openxmlformats-officedocument.presentationml.tags+xml"/>
  <Override PartName="/ppt/slideLayouts/slideLayout109.xml" ContentType="application/vnd.openxmlformats-officedocument.presentationml.slideLayout+xml"/>
  <Override PartName="/ppt/tags/tag248.xml" ContentType="application/vnd.openxmlformats-officedocument.presentationml.tags+xml"/>
  <Override PartName="/ppt/tags/tag295.xml" ContentType="application/vnd.openxmlformats-officedocument.presentationml.tags+xml"/>
  <Override PartName="/ppt/slideLayouts/slideLayout156.xml" ContentType="application/vnd.openxmlformats-officedocument.presentationml.slideLayout+xml"/>
  <Override PartName="/ppt/notesSlides/notesSlide1.xml" ContentType="application/vnd.openxmlformats-officedocument.presentationml.notesSlide+xml"/>
  <Override PartName="/ppt/slideLayouts/slideLayout56.xml" ContentType="application/vnd.openxmlformats-officedocument.presentationml.slideLayout+xml"/>
  <Override PartName="/ppt/tags/tag226.xml" ContentType="application/vnd.openxmlformats-officedocument.presentationml.tags+xml"/>
  <Override PartName="/ppt/tags/tag273.xml" ContentType="application/vnd.openxmlformats-officedocument.presentationml.tags+xml"/>
  <Override PartName="/ppt/slideLayouts/slideLayout34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s/slide13.xml" ContentType="application/vnd.openxmlformats-officedocument.presentationml.slide+xml"/>
  <Override PartName="/ppt/tags/tag48.xml" ContentType="application/vnd.openxmlformats-officedocument.presentationml.tags+xml"/>
  <Override PartName="/ppt/tags/tag95.xml" ContentType="application/vnd.openxmlformats-officedocument.presentationml.tags+xml"/>
  <Override PartName="/ppt/tags/tag188.xml" ContentType="application/vnd.openxmlformats-officedocument.presentationml.tags+xml"/>
  <Override PartName="/ppt/tags/tag204.xml" ContentType="application/vnd.openxmlformats-officedocument.presentationml.tags+xml"/>
  <Override PartName="/ppt/slideLayouts/slideLayout112.xml" ContentType="application/vnd.openxmlformats-officedocument.presentationml.slideLayout+xml"/>
  <Override PartName="/ppt/tags/tag251.xml" ContentType="application/vnd.openxmlformats-officedocument.presentationml.tags+xml"/>
  <Override PartName="/ppt/tags/tag349.xml" ContentType="application/vnd.openxmlformats-officedocument.presentationml.tags+xml"/>
  <Override PartName="/ppt/slideLayouts/slideLayout12.xml" ContentType="application/vnd.openxmlformats-officedocument.presentationml.slideLayout+xml"/>
  <Override PartName="/ppt/tags/tag26.xml" ContentType="application/vnd.openxmlformats-officedocument.presentationml.tags+xml"/>
  <Override PartName="/ppt/tags/tag73.xml" ContentType="application/vnd.openxmlformats-officedocument.presentationml.tags+xml"/>
  <Override PartName="/ppt/tags/tag327.xml" ContentType="application/vnd.openxmlformats-officedocument.presentationml.tags+xml"/>
  <Override PartName="/ppt/tags/tag374.xml" ContentType="application/vnd.openxmlformats-officedocument.presentationml.tags+xml"/>
  <Override PartName="/ppt/tags/tag119.xml" ContentType="application/vnd.openxmlformats-officedocument.presentationml.tags+xml"/>
  <Override PartName="/ppt/tags/tag166.xml" ContentType="application/vnd.openxmlformats-officedocument.presentationml.tags+xml"/>
  <Override PartName="/ppt/tags/tag51.xml" ContentType="application/vnd.openxmlformats-officedocument.presentationml.tags+xml"/>
  <Override PartName="/ppt/tags/tag289.xml" ContentType="application/vnd.openxmlformats-officedocument.presentationml.tags+xml"/>
  <Override PartName="/ppt/tags/tag305.xml" ContentType="application/vnd.openxmlformats-officedocument.presentationml.tags+xml"/>
  <Override PartName="/ppt/theme/theme9.xml" ContentType="application/vnd.openxmlformats-officedocument.theme+xml"/>
  <Override PartName="/ppt/tags/tag352.xml" ContentType="application/vnd.openxmlformats-officedocument.presentationml.tags+xml"/>
  <Override PartName="/ppt/slideLayouts/slideLayout97.xml" ContentType="application/vnd.openxmlformats-officedocument.presentationml.slideLayout+xml"/>
  <Override PartName="/ppt/tags/tag144.xml" ContentType="application/vnd.openxmlformats-officedocument.presentationml.tags+xml"/>
  <Override PartName="/ppt/tags/tag191.xml" ContentType="application/vnd.openxmlformats-officedocument.presentationml.tags+xml"/>
  <Override PartName="/ppt/tags/tag330.xml" ContentType="application/vnd.openxmlformats-officedocument.presentationml.tags+xml"/>
  <Override PartName="/ppt/tags/tag122.xml" ContentType="application/vnd.openxmlformats-officedocument.presentationml.tags+xml"/>
  <Override PartName="/ppt/tags/tag267.xml" ContentType="application/vnd.openxmlformats-officedocument.presentationml.tags+xml"/>
  <Override PartName="/ppt/slideLayouts/slideLayout128.xml" ContentType="application/vnd.openxmlformats-officedocument.presentationml.slideLayout+xml"/>
  <Override PartName="/ppt/diagrams/drawing2.xml" ContentType="application/vnd.ms-office.drawingml.diagramDrawing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89.xml" ContentType="application/vnd.openxmlformats-officedocument.presentationml.tags+xml"/>
  <Override PartName="/ppt/slideLayouts/slideLayout75.xml" ContentType="application/vnd.openxmlformats-officedocument.presentationml.slideLayout+xml"/>
  <Override PartName="/ppt/tags/tag245.xml" ContentType="application/vnd.openxmlformats-officedocument.presentationml.tags+xml"/>
  <Override PartName="/ppt/tags/tag292.xml" ContentType="application/vnd.openxmlformats-officedocument.presentationml.tags+xml"/>
  <Override PartName="/ppt/slideLayouts/slideLayout53.xml" ContentType="application/vnd.openxmlformats-officedocument.presentationml.slideLayout+xml"/>
  <Override PartName="/ppt/tags/tag100.xml" ContentType="application/vnd.openxmlformats-officedocument.presentationml.tags+xml"/>
  <Override PartName="/ppt/slideLayouts/slideLayout106.xml" ContentType="application/vnd.openxmlformats-officedocument.presentationml.slideLayout+xml"/>
  <Override PartName="/ppt/slideLayouts/slideLayout153.xml" ContentType="application/vnd.openxmlformats-officedocument.presentationml.slideLayout+xml"/>
  <Override PartName="/ppt/tags/tag368.xml" ContentType="application/vnd.openxmlformats-officedocument.presentationml.tags+xml"/>
  <Override PartName="/ppt/tags/tag67.xml" ContentType="application/vnd.openxmlformats-officedocument.presentationml.tags+xml"/>
  <Override PartName="/ppt/tags/tag223.xml" ContentType="application/vnd.openxmlformats-officedocument.presentationml.tags+xml"/>
  <Override PartName="/ppt/tags/tag270.xml" ContentType="application/vnd.openxmlformats-officedocument.presentationml.tags+xml"/>
  <Override PartName="/ppt/slideLayouts/slideLayout131.xml" ContentType="application/vnd.openxmlformats-officedocument.presentationml.slideLayout+xml"/>
  <Override PartName="/ppt/slides/slide10.xml" ContentType="application/vnd.openxmlformats-officedocument.presentationml.slide+xml"/>
  <Override PartName="/ppt/tags/tag45.xml" ContentType="application/vnd.openxmlformats-officedocument.presentationml.tags+xml"/>
  <Override PartName="/ppt/slideLayouts/slideLayout31.xml" ContentType="application/vnd.openxmlformats-officedocument.presentationml.slideLayout+xml"/>
  <Override PartName="/ppt/tags/tag92.xml" ContentType="application/vnd.openxmlformats-officedocument.presentationml.tags+xml"/>
  <Override PartName="/ppt/tags/tag201.xml" ContentType="application/vnd.openxmlformats-officedocument.presentationml.tags+xml"/>
  <Override PartName="/ppt/tags/tag346.xml" ContentType="application/vnd.openxmlformats-officedocument.presentationml.tags+xml"/>
  <Override PartName="/ppt/tags/tag393.xml" ContentType="application/vnd.openxmlformats-officedocument.presentationml.tags+xml"/>
  <Override PartName="/ppt/tags/tag138.xml" ContentType="application/vnd.openxmlformats-officedocument.presentationml.tags+xml"/>
  <Override PartName="/ppt/tags/tag185.xml" ContentType="application/vnd.openxmlformats-officedocument.presentationml.tags+xml"/>
  <Override PartName="/ppt/tags/tag324.xml" ContentType="application/vnd.openxmlformats-officedocument.presentationml.tags+xml"/>
  <Override PartName="/ppt/tags/tag371.xml" ContentType="application/vnd.openxmlformats-officedocument.presentationml.tags+xml"/>
  <Override PartName="/ppt/tags/tag23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163.xml" ContentType="application/vnd.openxmlformats-officedocument.presentationml.tags+xml"/>
  <Override PartName="/ppt/tags/tag9.xml" ContentType="application/vnd.openxmlformats-officedocument.presentationml.tags+xml"/>
  <Override PartName="/ppt/slideLayouts/slideLayout69.xml" ContentType="application/vnd.openxmlformats-officedocument.presentationml.slideLayout+xml"/>
  <Override PartName="/ppt/theme/theme6.xml" ContentType="application/vnd.openxmlformats-officedocument.theme+xml"/>
  <Override PartName="/ppt/tags/tag302.xml" ContentType="application/vnd.openxmlformats-officedocument.presentationml.tags+xml"/>
  <Override PartName="/ppt/slideLayouts/slideLayout169.xml" ContentType="application/vnd.openxmlformats-officedocument.presentationml.slideLayout+xml"/>
  <Default Extension="bin" ContentType="application/vnd.openxmlformats-officedocument.oleObject"/>
  <Override PartName="/ppt/tags/tag141.xml" ContentType="application/vnd.openxmlformats-officedocument.presentationml.tags+xml"/>
  <Override PartName="/ppt/tags/tag239.xml" ContentType="application/vnd.openxmlformats-officedocument.presentationml.tags+xml"/>
  <Override PartName="/ppt/tags/tag286.xml" ContentType="application/vnd.openxmlformats-officedocument.presentationml.tags+xml"/>
  <Override PartName="/ppt/slideLayouts/slideLayout147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94.xml" ContentType="application/vnd.openxmlformats-officedocument.presentationml.slideLayout+xml"/>
  <Override PartName="/ppt/tags/tag217.xml" ContentType="application/vnd.openxmlformats-officedocument.presentationml.tags+xml"/>
  <Override PartName="/ppt/tags/tag264.xml" ContentType="application/vnd.openxmlformats-officedocument.presentationml.tag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39.xml" ContentType="application/vnd.openxmlformats-officedocument.presentationml.tags+xml"/>
  <Override PartName="/ppt/tags/tag86.xml" ContentType="application/vnd.openxmlformats-officedocument.presentationml.tags+xml"/>
  <Override PartName="/ppt/slideLayouts/slideLayout72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72.xml" ContentType="application/vnd.openxmlformats-officedocument.presentationml.slideLayout+xml"/>
  <Override PartName="/ppt/tags/tag387.xml" ContentType="application/vnd.openxmlformats-officedocument.presentationml.tags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ags/tag75.xml" ContentType="application/vnd.openxmlformats-officedocument.presentationml.tags+xml"/>
  <Override PartName="/ppt/slideLayouts/slideLayout61.xml" ContentType="application/vnd.openxmlformats-officedocument.presentationml.slideLayout+xml"/>
  <Override PartName="/ppt/tags/tag179.xml" ContentType="application/vnd.openxmlformats-officedocument.presentationml.tags+xml"/>
  <Override PartName="/ppt/slideLayouts/slideLayout103.xml" ContentType="application/vnd.openxmlformats-officedocument.presentationml.slideLayout+xml"/>
  <Override PartName="/ppt/tags/tag231.xml" ContentType="application/vnd.openxmlformats-officedocument.presentationml.tags+xml"/>
  <Override PartName="/ppt/tags/tag242.xml" ContentType="application/vnd.openxmlformats-officedocument.presentationml.tags+xml"/>
  <Override PartName="/ppt/tags/tag329.xml" ContentType="application/vnd.openxmlformats-officedocument.presentationml.tags+xml"/>
  <Override PartName="/ppt/slideLayouts/slideLayout150.xml" ContentType="application/vnd.openxmlformats-officedocument.presentationml.slideLayout+xml"/>
  <Override PartName="/ppt/tags/tag376.xml" ContentType="application/vnd.openxmlformats-officedocument.presentationml.tags+xml"/>
  <Override PartName="/ppt/tags/tag17.xml" ContentType="application/vnd.openxmlformats-officedocument.presentationml.tags+xml"/>
  <Override PartName="/ppt/slideLayouts/slideLayout50.xml" ContentType="application/vnd.openxmlformats-officedocument.presentationml.slideLayout+xml"/>
  <Override PartName="/ppt/tags/tag64.xml" ContentType="application/vnd.openxmlformats-officedocument.presentationml.tags+xml"/>
  <Override PartName="/ppt/tags/tag168.xml" ContentType="application/vnd.openxmlformats-officedocument.presentationml.tags+xml"/>
  <Override PartName="/ppt/tags/tag220.xml" ContentType="application/vnd.openxmlformats-officedocument.presentationml.tags+xml"/>
  <Override PartName="/ppt/tags/tag318.xml" ContentType="application/vnd.openxmlformats-officedocument.presentationml.tags+xml"/>
  <Override PartName="/ppt/tags/tag365.xml" ContentType="application/vnd.openxmlformats-officedocument.presentationml.tags+xml"/>
  <Override PartName="/ppt/slideMasters/slideMaster9.xml" ContentType="application/vnd.openxmlformats-officedocument.presentationml.slideMaster+xml"/>
  <Default Extension="vml" ContentType="application/vnd.openxmlformats-officedocument.vmlDrawing"/>
  <Override PartName="/ppt/tags/tag53.xml" ContentType="application/vnd.openxmlformats-officedocument.presentationml.tags+xml"/>
  <Override PartName="/ppt/tags/tag157.xml" ContentType="application/vnd.openxmlformats-officedocument.presentationml.tags+xml"/>
  <Override PartName="/ppt/tags/tag307.xml" ContentType="application/vnd.openxmlformats-officedocument.presentationml.tags+xml"/>
  <Override PartName="/ppt/tags/tag343.xml" ContentType="application/vnd.openxmlformats-officedocument.presentationml.tags+xml"/>
  <Override PartName="/ppt/tags/tag354.xml" ContentType="application/vnd.openxmlformats-officedocument.presentationml.tags+xml"/>
  <Override PartName="/ppt/tags/tag390.xml" ContentType="application/vnd.openxmlformats-officedocument.presentationml.tags+xml"/>
  <Override PartName="/ppt/diagrams/layout2.xml" ContentType="application/vnd.openxmlformats-officedocument.drawingml.diagramLayout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135.xml" ContentType="application/vnd.openxmlformats-officedocument.presentationml.tags+xml"/>
  <Override PartName="/ppt/tags/tag146.xml" ContentType="application/vnd.openxmlformats-officedocument.presentationml.tags+xml"/>
  <Override PartName="/ppt/tags/tag182.xml" ContentType="application/vnd.openxmlformats-officedocument.presentationml.tags+xml"/>
  <Override PartName="/ppt/tags/tag193.xml" ContentType="application/vnd.openxmlformats-officedocument.presentationml.tags+xml"/>
  <Override PartName="/ppt/slideLayouts/slideLayout99.xml" ContentType="application/vnd.openxmlformats-officedocument.presentationml.slideLayout+xml"/>
  <Override PartName="/ppt/tags/tag332.xml" ContentType="application/vnd.openxmlformats-officedocument.presentationml.tags+xml"/>
  <Override PartName="/ppt/diagrams/data3.xml" ContentType="application/vnd.openxmlformats-officedocument.drawingml.diagramData+xml"/>
  <Override PartName="/ppt/tags/tag20.xml" ContentType="application/vnd.openxmlformats-officedocument.presentationml.tags+xml"/>
  <Override PartName="/ppt/tags/tag124.xml" ContentType="application/vnd.openxmlformats-officedocument.presentationml.tags+xml"/>
  <Override PartName="/ppt/slideLayouts/slideLayout88.xml" ContentType="application/vnd.openxmlformats-officedocument.presentationml.slideLayout+xml"/>
  <Override PartName="/ppt/tags/tag171.xml" ContentType="application/vnd.openxmlformats-officedocument.presentationml.tags+xml"/>
  <Override PartName="/ppt/tags/tag269.xml" ContentType="application/vnd.openxmlformats-officedocument.presentationml.tags+xml"/>
  <Override PartName="/ppt/tags/tag321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tags/tag113.xml" ContentType="application/vnd.openxmlformats-officedocument.presentationml.tags+xml"/>
  <Override PartName="/ppt/slideLayouts/slideLayout6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ags/tag160.xml" ContentType="application/vnd.openxmlformats-officedocument.presentationml.tags+xml"/>
  <Override PartName="/ppt/slideLayouts/slideLayout119.xml" ContentType="application/vnd.openxmlformats-officedocument.presentationml.slideLayout+xml"/>
  <Override PartName="/ppt/tags/tag247.xml" ContentType="application/vnd.openxmlformats-officedocument.presentationml.tags+xml"/>
  <Override PartName="/ppt/tags/tag258.xml" ContentType="application/vnd.openxmlformats-officedocument.presentationml.tags+xml"/>
  <Override PartName="/ppt/tags/tag294.xml" ContentType="application/vnd.openxmlformats-officedocument.presentationml.tags+xml"/>
  <Override PartName="/ppt/tags/tag310.xml" ContentType="application/vnd.openxmlformats-officedocument.presentationml.tags+xml"/>
  <Override PartName="/ppt/slideLayouts/slideLayout166.xml" ContentType="application/vnd.openxmlformats-officedocument.presentationml.slideLayout+xml"/>
  <Override PartName="/ppt/slideMasters/slideMaster1.xml" ContentType="application/vnd.openxmlformats-officedocument.presentationml.slideMaster+xml"/>
  <Override PartName="/ppt/theme/theme3.xml" ContentType="application/vnd.openxmlformats-officedocument.theme+xml"/>
  <Override PartName="/ppt/tags/tag102.xml" ContentType="application/vnd.openxmlformats-officedocument.presentationml.tags+xml"/>
  <Override PartName="/ppt/slideLayouts/slideLayout55.xml" ContentType="application/vnd.openxmlformats-officedocument.presentationml.slideLayout+xml"/>
  <Override PartName="/ppt/slideLayouts/slideLayout108.xml" ContentType="application/vnd.openxmlformats-officedocument.presentationml.slideLayout+xml"/>
  <Override PartName="/ppt/tags/tag236.xml" ContentType="application/vnd.openxmlformats-officedocument.presentationml.tags+xml"/>
  <Override PartName="/ppt/tags/tag283.xml" ContentType="application/vnd.openxmlformats-officedocument.presentationml.tags+xml"/>
  <Override PartName="/ppt/slideLayouts/slideLayout155.xml" ContentType="application/vnd.openxmlformats-officedocument.presentationml.slideLayout+xml"/>
  <Override PartName="/ppt/slideLayouts/slideLayout44.xml" ContentType="application/vnd.openxmlformats-officedocument.presentationml.slideLayout+xml"/>
  <Override PartName="/ppt/tags/tag58.xml" ContentType="application/vnd.openxmlformats-officedocument.presentationml.tags+xml"/>
  <Override PartName="/ppt/tags/tag69.xml" ContentType="application/vnd.openxmlformats-officedocument.presentationml.tags+xml"/>
  <Override PartName="/ppt/slideLayouts/slideLayout91.xml" ContentType="application/vnd.openxmlformats-officedocument.presentationml.slideLayout+xml"/>
  <Override PartName="/ppt/tags/tag225.xml" ContentType="application/vnd.openxmlformats-officedocument.presentationml.tags+xml"/>
  <Override PartName="/ppt/tags/tag272.xml" ContentType="application/vnd.openxmlformats-officedocument.presentationml.tags+xml"/>
  <Override PartName="/ppt/slideLayouts/slideLayout13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tags/tag359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slideLayouts/slideLayout22.xml" ContentType="application/vnd.openxmlformats-officedocument.presentationml.slideLayout+xml"/>
  <Override PartName="/ppt/tags/tag47.xml" ContentType="application/vnd.openxmlformats-officedocument.presentationml.tags+xml"/>
  <Override PartName="/ppt/slideLayouts/slideLayout33.xml" ContentType="application/vnd.openxmlformats-officedocument.presentationml.slideLayout+xml"/>
  <Override PartName="/ppt/tags/tag94.xml" ContentType="application/vnd.openxmlformats-officedocument.presentationml.tags+xml"/>
  <Override PartName="/ppt/slideLayouts/slideLayout80.xml" ContentType="application/vnd.openxmlformats-officedocument.presentationml.slideLayout+xml"/>
  <Override PartName="/ppt/tags/tag198.xml" ContentType="application/vnd.openxmlformats-officedocument.presentationml.tags+xml"/>
  <Override PartName="/ppt/tags/tag203.xml" ContentType="application/vnd.openxmlformats-officedocument.presentationml.tags+xml"/>
  <Override PartName="/ppt/tags/tag214.xml" ContentType="application/vnd.openxmlformats-officedocument.presentationml.tags+xml"/>
  <Override PartName="/ppt/slideLayouts/slideLayout122.xml" ContentType="application/vnd.openxmlformats-officedocument.presentationml.slideLayout+xml"/>
  <Override PartName="/ppt/tags/tag250.xml" ContentType="application/vnd.openxmlformats-officedocument.presentationml.tags+xml"/>
  <Override PartName="/ppt/tags/tag261.xml" ContentType="application/vnd.openxmlformats-officedocument.presentationml.tags+xml"/>
  <Override PartName="/ppt/tags/tag348.xml" ContentType="application/vnd.openxmlformats-officedocument.presentationml.tags+xml"/>
  <Override PartName="/ppt/slides/slide12.xml" ContentType="application/vnd.openxmlformats-officedocument.presentationml.slide+xml"/>
  <Override PartName="/ppt/slideLayouts/slideLayout11.xml" ContentType="application/vnd.openxmlformats-officedocument.presentationml.slideLayout+xml"/>
  <Override PartName="/ppt/tags/tag36.xml" ContentType="application/vnd.openxmlformats-officedocument.presentationml.tags+xml"/>
  <Override PartName="/ppt/tags/tag83.xml" ContentType="application/vnd.openxmlformats-officedocument.presentationml.tags+xml"/>
  <Override PartName="/ppt/tags/tag187.xml" ContentType="application/vnd.openxmlformats-officedocument.presentationml.tags+xml"/>
  <Override PartName="/ppt/slideLayouts/slideLayout111.xml" ContentType="application/vnd.openxmlformats-officedocument.presentationml.slideLayout+xml"/>
  <Override PartName="/ppt/tags/tag337.xml" ContentType="application/vnd.openxmlformats-officedocument.presentationml.tags+xml"/>
  <Override PartName="/ppt/tags/tag384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tags/tag118.xml" ContentType="application/vnd.openxmlformats-officedocument.presentationml.tags+xml"/>
  <Override PartName="/ppt/tags/tag129.xml" ContentType="application/vnd.openxmlformats-officedocument.presentationml.tags+xml"/>
  <Override PartName="/ppt/tags/tag165.xml" ContentType="application/vnd.openxmlformats-officedocument.presentationml.tags+xml"/>
  <Override PartName="/ppt/tags/tag176.xml" ContentType="application/vnd.openxmlformats-officedocument.presentationml.tags+xml"/>
  <Override PartName="/ppt/slideLayouts/slideLayout100.xml" ContentType="application/vnd.openxmlformats-officedocument.presentationml.slideLayout+xml"/>
  <Override PartName="/ppt/tags/tag315.xml" ContentType="application/vnd.openxmlformats-officedocument.presentationml.tags+xml"/>
  <Override PartName="/ppt/tags/tag326.xml" ContentType="application/vnd.openxmlformats-officedocument.presentationml.tags+xml"/>
  <Override PartName="/ppt/tags/tag362.xml" ContentType="application/vnd.openxmlformats-officedocument.presentationml.tags+xml"/>
  <Override PartName="/ppt/tags/tag373.xml" ContentType="application/vnd.openxmlformats-officedocument.presentationml.tags+xml"/>
  <Override PartName="/ppt/slideMasters/slideMaster6.xml" ContentType="application/vnd.openxmlformats-officedocument.presentationml.slideMaster+xml"/>
  <Override PartName="/ppt/tags/tag50.xml" ContentType="application/vnd.openxmlformats-officedocument.presentationml.tags+xml"/>
  <Override PartName="/ppt/tags/tag107.xml" ContentType="application/vnd.openxmlformats-officedocument.presentationml.tags+xml"/>
  <Override PartName="/ppt/tags/tag154.xml" ContentType="application/vnd.openxmlformats-officedocument.presentationml.tags+xml"/>
  <Override PartName="/ppt/tags/tag299.xml" ContentType="application/vnd.openxmlformats-officedocument.presentationml.tags+xml"/>
  <Override PartName="/ppt/theme/theme8.xml" ContentType="application/vnd.openxmlformats-officedocument.theme+xml"/>
  <Override PartName="/ppt/tags/tag304.xml" ContentType="application/vnd.openxmlformats-officedocument.presentationml.tags+xml"/>
  <Override PartName="/ppt/tags/tag351.xml" ContentType="application/vnd.openxmlformats-officedocument.presentationml.tags+xml"/>
  <Override PartName="/ppt/tags/tag143.xml" ContentType="application/vnd.openxmlformats-officedocument.presentationml.tags+xml"/>
  <Override PartName="/ppt/tags/tag190.xml" ContentType="application/vnd.openxmlformats-officedocument.presentationml.tags+xml"/>
  <Override PartName="/ppt/tags/tag277.xml" ContentType="application/vnd.openxmlformats-officedocument.presentationml.tags+xml"/>
  <Override PartName="/ppt/tags/tag288.xml" ContentType="application/vnd.openxmlformats-officedocument.presentationml.tags+xml"/>
  <Override PartName="/ppt/tags/tag340.xml" ContentType="application/vnd.openxmlformats-officedocument.presentationml.tags+xml"/>
  <Override PartName="/ppt/slideLayouts/slideLayout149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ags/tag132.xml" ContentType="application/vnd.openxmlformats-officedocument.presentationml.tags+xml"/>
  <Override PartName="/ppt/slideLayouts/slideLayout8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ags/tag219.xml" ContentType="application/vnd.openxmlformats-officedocument.presentationml.tags+xml"/>
  <Override PartName="/ppt/tags/tag266.xml" ContentType="application/vnd.openxmlformats-officedocument.presentationml.tags+xml"/>
  <Override PartName="/ppt/slideLayouts/slideLayout138.xml" ContentType="application/vnd.openxmlformats-officedocument.presentationml.slideLayout+xml"/>
  <Override PartName="/ppt/diagrams/colors2.xml" ContentType="application/vnd.openxmlformats-officedocument.drawingml.diagramColor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121.xml" ContentType="application/vnd.openxmlformats-officedocument.presentationml.tags+xml"/>
  <Override PartName="/ppt/slideLayouts/slideLayout74.xml" ContentType="application/vnd.openxmlformats-officedocument.presentationml.slideLayout+xml"/>
  <Override PartName="/ppt/tags/tag208.xml" ContentType="application/vnd.openxmlformats-officedocument.presentationml.tags+xml"/>
  <Override PartName="/ppt/slideLayouts/slideLayout116.xml" ContentType="application/vnd.openxmlformats-officedocument.presentationml.slideLayout+xml"/>
  <Override PartName="/ppt/tags/tag255.xml" ContentType="application/vnd.openxmlformats-officedocument.presentationml.tags+xml"/>
  <Override PartName="/ppt/slideLayouts/slideLayout127.xml" ContentType="application/vnd.openxmlformats-officedocument.presentationml.slideLayout+xml"/>
  <Override PartName="/ppt/slideLayouts/slideLayout163.xml" ContentType="application/vnd.openxmlformats-officedocument.presentationml.slideLayout+xml"/>
  <Override PartName="/ppt/tags/tag389.xml" ContentType="application/vnd.openxmlformats-officedocument.presentationml.tags+xml"/>
  <Override PartName="/ppt/diagrams/drawing1.xml" ContentType="application/vnd.ms-office.drawingml.diagramDrawing+xml"/>
  <Override PartName="/ppt/slideLayouts/slideLayout16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tags/tag77.xml" ContentType="application/vnd.openxmlformats-officedocument.presentationml.tags+xml"/>
  <Override PartName="/ppt/tags/tag88.xml" ContentType="application/vnd.openxmlformats-officedocument.presentationml.tags+xml"/>
  <Override PartName="/ppt/slideLayouts/slideLayout63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ags/tag233.xml" ContentType="application/vnd.openxmlformats-officedocument.presentationml.tags+xml"/>
  <Override PartName="/ppt/tags/tag244.xml" ContentType="application/vnd.openxmlformats-officedocument.presentationml.tags+xml"/>
  <Override PartName="/ppt/tags/tag280.xml" ContentType="application/vnd.openxmlformats-officedocument.presentationml.tags+xml"/>
  <Override PartName="/ppt/tags/tag291.xml" ContentType="application/vnd.openxmlformats-officedocument.presentationml.tags+xml"/>
  <Override PartName="/ppt/slideLayouts/slideLayout152.xml" ContentType="application/vnd.openxmlformats-officedocument.presentationml.slideLayout+xml"/>
  <Override PartName="/ppt/tags/tag378.xml" ContentType="application/vnd.openxmlformats-officedocument.presentationml.tags+xml"/>
  <Override PartName="/ppt/diagrams/quickStyle1.xml" ContentType="application/vnd.openxmlformats-officedocument.drawingml.diagramStyle+xml"/>
  <Override PartName="/ppt/tags/tag19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ags/tag66.xml" ContentType="application/vnd.openxmlformats-officedocument.presentationml.tags+xml"/>
  <Override PartName="/ppt/tags/tag222.xml" ContentType="application/vnd.openxmlformats-officedocument.presentationml.tags+xml"/>
  <Override PartName="/ppt/slideLayouts/slideLayout141.xml" ContentType="application/vnd.openxmlformats-officedocument.presentationml.slideLayout+xml"/>
  <Override PartName="/ppt/tags/tag367.xml" ContentType="application/vnd.openxmlformats-officedocument.presentationml.tags+xml"/>
  <Override PartName="/ppt/slides/slide20.xml" ContentType="application/vnd.openxmlformats-officedocument.presentationml.slide+xml"/>
  <Override PartName="/ppt/slideLayouts/slideLayout30.xml" ContentType="application/vnd.openxmlformats-officedocument.presentationml.slideLayout+xml"/>
  <Override PartName="/ppt/tags/tag55.xml" ContentType="application/vnd.openxmlformats-officedocument.presentationml.tags+xml"/>
  <Override PartName="/ppt/tags/tag159.xml" ContentType="application/vnd.openxmlformats-officedocument.presentationml.tags+xml"/>
  <Override PartName="/ppt/tags/tag211.xml" ContentType="application/vnd.openxmlformats-officedocument.presentationml.tags+xml"/>
  <Override PartName="/ppt/slideLayouts/slideLayout130.xml" ContentType="application/vnd.openxmlformats-officedocument.presentationml.slideLayout+xml"/>
  <Override PartName="/ppt/tags/tag309.xml" ContentType="application/vnd.openxmlformats-officedocument.presentationml.tags+xml"/>
  <Override PartName="/ppt/tags/tag345.xml" ContentType="application/vnd.openxmlformats-officedocument.presentationml.tags+xml"/>
  <Override PartName="/ppt/tags/tag356.xml" ContentType="application/vnd.openxmlformats-officedocument.presentationml.tags+xml"/>
  <Override PartName="/ppt/tags/tag392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80.xml" ContentType="application/vnd.openxmlformats-officedocument.presentationml.tags+xml"/>
  <Override PartName="/ppt/tags/tag91.xml" ContentType="application/vnd.openxmlformats-officedocument.presentationml.tags+xml"/>
  <Override PartName="/ppt/tags/tag137.xml" ContentType="application/vnd.openxmlformats-officedocument.presentationml.tags+xml"/>
  <Override PartName="/ppt/tags/tag148.xml" ContentType="application/vnd.openxmlformats-officedocument.presentationml.tags+xml"/>
  <Override PartName="/ppt/tags/tag184.xml" ContentType="application/vnd.openxmlformats-officedocument.presentationml.tags+xml"/>
  <Override PartName="/ppt/tags/tag195.xml" ContentType="application/vnd.openxmlformats-officedocument.presentationml.tags+xml"/>
  <Override PartName="/ppt/tags/tag200.xml" ContentType="application/vnd.openxmlformats-officedocument.presentationml.tags+xml"/>
  <Override PartName="/ppt/tags/tag334.xml" ContentType="application/vnd.openxmlformats-officedocument.presentationml.tags+xml"/>
  <Override PartName="/ppt/tags/tag381.xml" ContentType="application/vnd.openxmlformats-officedocument.presentationml.tags+xml"/>
  <Override PartName="/ppt/tags/tag22.xml" ContentType="application/vnd.openxmlformats-officedocument.presentationml.tags+xml"/>
  <Override PartName="/ppt/tags/tag126.xml" ContentType="application/vnd.openxmlformats-officedocument.presentationml.tags+xml"/>
  <Override PartName="/ppt/tags/tag173.xml" ContentType="application/vnd.openxmlformats-officedocument.presentationml.tags+xml"/>
  <Override PartName="/ppt/tags/tag323.xml" ContentType="application/vnd.openxmlformats-officedocument.presentationml.tags+xml"/>
  <Override PartName="/ppt/tags/tag370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115.xml" ContentType="application/vnd.openxmlformats-officedocument.presentationml.tags+xml"/>
  <Override PartName="/ppt/slideLayouts/slideLayout6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ags/tag162.xml" ContentType="application/vnd.openxmlformats-officedocument.presentationml.tags+xml"/>
  <Override PartName="/ppt/tags/tag249.xml" ContentType="application/vnd.openxmlformats-officedocument.presentationml.tags+xml"/>
  <Override PartName="/ppt/tags/tag296.xml" ContentType="application/vnd.openxmlformats-officedocument.presentationml.tags+xml"/>
  <Override PartName="/ppt/tags/tag301.xml" ContentType="application/vnd.openxmlformats-officedocument.presentationml.tags+xml"/>
  <Override PartName="/ppt/tags/tag312.xml" ContentType="application/vnd.openxmlformats-officedocument.presentationml.tags+xml"/>
  <Override PartName="/ppt/slideLayouts/slideLayout168.xml" ContentType="application/vnd.openxmlformats-officedocument.presentationml.slideLayout+xml"/>
  <Override PartName="/ppt/slideMasters/slideMaster3.xml" ContentType="application/vnd.openxmlformats-officedocument.presentationml.slideMaster+xml"/>
  <Override PartName="/ppt/tags/tag104.xml" ContentType="application/vnd.openxmlformats-officedocument.presentationml.tags+xml"/>
  <Override PartName="/ppt/slideLayouts/slideLayout57.xml" ContentType="application/vnd.openxmlformats-officedocument.presentationml.slideLayout+xml"/>
  <Override PartName="/ppt/tags/tag151.xml" ContentType="application/vnd.openxmlformats-officedocument.presentationml.tags+xml"/>
  <Override PartName="/ppt/slideLayouts/slideLayout157.xml" ContentType="application/vnd.openxmlformats-officedocument.presentationml.slideLayout+xml"/>
  <Override PartName="/ppt/notesSlides/notesSlide2.xml" ContentType="application/vnd.openxmlformats-officedocument.presentationml.notesSlide+xml"/>
  <Override PartName="/ppt/tags/tag227.xml" ContentType="application/vnd.openxmlformats-officedocument.presentationml.tags+xml"/>
  <Override PartName="/ppt/tags/tag274.xml" ContentType="application/vnd.openxmlformats-officedocument.presentationml.tags+xml"/>
  <Override PartName="/ppt/slideLayouts/slideLayout135.xml" ContentType="application/vnd.openxmlformats-officedocument.presentationml.slideLayout+xml"/>
  <Override PartName="/ppt/slideLayouts/slideLayout35.xml" ContentType="application/vnd.openxmlformats-officedocument.presentationml.slideLayout+xml"/>
  <Override PartName="/ppt/tags/tag49.xml" ContentType="application/vnd.openxmlformats-officedocument.presentationml.tags+xml"/>
  <Override PartName="/ppt/tags/tag96.xml" ContentType="application/vnd.openxmlformats-officedocument.presentationml.tags+xml"/>
  <Override PartName="/ppt/slideLayouts/slideLayout82.xml" ContentType="application/vnd.openxmlformats-officedocument.presentationml.slideLayout+xml"/>
  <Override PartName="/ppt/tags/tag205.xml" ContentType="application/vnd.openxmlformats-officedocument.presentationml.tags+xml"/>
  <Override PartName="/ppt/tags/tag252.xml" ContentType="application/vnd.openxmlformats-officedocument.presentationml.tags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60.xml" ContentType="application/vnd.openxmlformats-officedocument.presentationml.slideLayout+xml"/>
  <Override PartName="/ppt/tags/tag189.xml" ContentType="application/vnd.openxmlformats-officedocument.presentationml.tags+xml"/>
  <Override PartName="/ppt/slideLayouts/slideLayout113.xml" ContentType="application/vnd.openxmlformats-officedocument.presentationml.slideLayout+xml"/>
  <Override PartName="/ppt/slideLayouts/slideLayout160.xml" ContentType="application/vnd.openxmlformats-officedocument.presentationml.slideLayout+xml"/>
  <Override PartName="/ppt/tableStyles.xml" ContentType="application/vnd.openxmlformats-officedocument.presentationml.tableStyles+xml"/>
  <Override PartName="/ppt/tags/tag27.xml" ContentType="application/vnd.openxmlformats-officedocument.presentationml.tags+xml"/>
  <Override PartName="/ppt/tags/tag74.xml" ContentType="application/vnd.openxmlformats-officedocument.presentationml.tags+xml"/>
  <Override PartName="/ppt/tags/tag230.xml" ContentType="application/vnd.openxmlformats-officedocument.presentationml.tags+xml"/>
  <Override PartName="/ppt/tags/tag328.xml" ContentType="application/vnd.openxmlformats-officedocument.presentationml.tags+xml"/>
  <Override PartName="/ppt/tags/tag375.xml" ContentType="application/vnd.openxmlformats-officedocument.presentationml.tags+xml"/>
  <Override PartName="/ppt/tags/tag52.xml" ContentType="application/vnd.openxmlformats-officedocument.presentationml.tags+xml"/>
  <Override PartName="/ppt/tags/tag167.xml" ContentType="application/vnd.openxmlformats-officedocument.presentationml.tags+xml"/>
  <Override PartName="/ppt/tags/tag306.xml" ContentType="application/vnd.openxmlformats-officedocument.presentationml.tags+xml"/>
  <Override PartName="/ppt/tags/tag353.xml" ContentType="application/vnd.openxmlformats-officedocument.presentationml.tags+xml"/>
  <Override PartName="/ppt/tags/tag145.xml" ContentType="application/vnd.openxmlformats-officedocument.presentationml.tags+xml"/>
  <Override PartName="/ppt/tags/tag192.xml" ContentType="application/vnd.openxmlformats-officedocument.presentationml.tags+xml"/>
  <Override PartName="/ppt/diagrams/layout1.xml" ContentType="application/vnd.openxmlformats-officedocument.drawingml.diagramLayout+xml"/>
  <Override PartName="/ppt/tags/tag30.xml" ContentType="application/vnd.openxmlformats-officedocument.presentationml.tags+xml"/>
  <Override PartName="/ppt/slideLayouts/slideLayout98.xml" ContentType="application/vnd.openxmlformats-officedocument.presentationml.slideLayout+xml"/>
  <Override PartName="/ppt/tags/tag268.xml" ContentType="application/vnd.openxmlformats-officedocument.presentationml.tags+xml"/>
  <Override PartName="/ppt/tags/tag331.xml" ContentType="application/vnd.openxmlformats-officedocument.presentationml.tag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123.xml" ContentType="application/vnd.openxmlformats-officedocument.presentationml.tags+xml"/>
  <Override PartName="/ppt/slideLayouts/slideLayout76.xml" ContentType="application/vnd.openxmlformats-officedocument.presentationml.slideLayout+xml"/>
  <Override PartName="/ppt/tags/tag170.xml" ContentType="application/vnd.openxmlformats-officedocument.presentationml.tags+xml"/>
  <Override PartName="/ppt/slideLayouts/slideLayout129.xml" ContentType="application/vnd.openxmlformats-officedocument.presentationml.slideLayout+xml"/>
  <Override PartName="/ppt/diagrams/drawing3.xml" ContentType="application/vnd.ms-office.drawingml.diagramDrawing+xml"/>
  <Override PartName="/ppt/tags/tag101.xml" ContentType="application/vnd.openxmlformats-officedocument.presentationml.tags+xml"/>
  <Override PartName="/ppt/slideLayouts/slideLayout107.xml" ContentType="application/vnd.openxmlformats-officedocument.presentationml.slideLayout+xml"/>
  <Override PartName="/ppt/tags/tag246.xml" ContentType="application/vnd.openxmlformats-officedocument.presentationml.tags+xml"/>
  <Override PartName="/ppt/tags/tag293.xml" ContentType="application/vnd.openxmlformats-officedocument.presentationml.tags+xml"/>
  <Override PartName="/ppt/slideLayouts/slideLayout154.xml" ContentType="application/vnd.openxmlformats-officedocument.presentationml.slideLayout+xml"/>
  <Override PartName="/ppt/slideLayouts/slideLayout54.xml" ContentType="application/vnd.openxmlformats-officedocument.presentationml.slideLayout+xml"/>
  <Override PartName="/ppt/tags/tag68.xml" ContentType="application/vnd.openxmlformats-officedocument.presentationml.tags+xml"/>
  <Override PartName="/ppt/tags/tag224.xml" ContentType="application/vnd.openxmlformats-officedocument.presentationml.tags+xml"/>
  <Override PartName="/ppt/tags/tag271.xml" ContentType="application/vnd.openxmlformats-officedocument.presentationml.tags+xml"/>
  <Override PartName="/ppt/tags/tag369.xml" ContentType="application/vnd.openxmlformats-officedocument.presentationml.tags+xml"/>
  <Override PartName="/ppt/presentation.xml" ContentType="application/vnd.openxmlformats-officedocument.presentationml.presentation.main+xml"/>
  <Override PartName="/ppt/slideLayouts/slideLayout32.xml" ContentType="application/vnd.openxmlformats-officedocument.presentationml.slideLayout+xml"/>
  <Override PartName="/ppt/slideLayouts/slideLayout132.xml" ContentType="application/vnd.openxmlformats-officedocument.presentationml.slideLayout+xml"/>
  <Override PartName="/ppt/tags/tag347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tags/tag46.xml" ContentType="application/vnd.openxmlformats-officedocument.presentationml.tags+xml"/>
  <Override PartName="/ppt/tags/tag93.xml" ContentType="application/vnd.openxmlformats-officedocument.presentationml.tags+xml"/>
  <Override PartName="/ppt/tags/tag139.xml" ContentType="application/vnd.openxmlformats-officedocument.presentationml.tags+xml"/>
  <Override PartName="/ppt/tags/tag186.xml" ContentType="application/vnd.openxmlformats-officedocument.presentationml.tags+xml"/>
  <Override PartName="/ppt/tags/tag202.xml" ContentType="application/vnd.openxmlformats-officedocument.presentationml.tags+xml"/>
  <Override PartName="/ppt/slideLayouts/slideLayout110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4.xml" ContentType="application/vnd.openxmlformats-officedocument.presentationml.tags+xml"/>
  <Override PartName="/ppt/tags/tag71.xml" ContentType="application/vnd.openxmlformats-officedocument.presentationml.tags+xml"/>
  <Override PartName="/ppt/tags/tag325.xml" ContentType="application/vnd.openxmlformats-officedocument.presentationml.tags+xml"/>
  <Override PartName="/ppt/tags/tag372.xml" ContentType="application/vnd.openxmlformats-officedocument.presentationml.tags+xml"/>
  <Override PartName="/ppt/tags/tag117.xml" ContentType="application/vnd.openxmlformats-officedocument.presentationml.tags+xml"/>
  <Override PartName="/ppt/tags/tag164.xml" ContentType="application/vnd.openxmlformats-officedocument.presentationml.tags+xml"/>
  <Override PartName="/ppt/tags/tag142.xml" ContentType="application/vnd.openxmlformats-officedocument.presentationml.tags+xml"/>
  <Override PartName="/ppt/theme/theme7.xml" ContentType="application/vnd.openxmlformats-officedocument.theme+xml"/>
  <Override PartName="/ppt/tags/tag287.xml" ContentType="application/vnd.openxmlformats-officedocument.presentationml.tags+xml"/>
  <Override PartName="/ppt/tags/tag303.xml" ContentType="application/vnd.openxmlformats-officedocument.presentationml.tags+xml"/>
  <Override PartName="/ppt/tags/tag350.xml" ContentType="application/vnd.openxmlformats-officedocument.presentationml.tags+xml"/>
  <Override PartName="/ppt/slideLayouts/slideLayout48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120.xml" ContentType="application/vnd.openxmlformats-officedocument.presentationml.tags+xml"/>
  <Override PartName="/ppt/tags/tag218.xml" ContentType="application/vnd.openxmlformats-officedocument.presentationml.tags+xml"/>
  <Override PartName="/ppt/tags/tag265.xml" ContentType="application/vnd.openxmlformats-officedocument.presentationml.tags+xml"/>
  <Override PartName="/ppt/slideLayouts/slideLayout126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s/slide2.xml" ContentType="application/vnd.openxmlformats-officedocument.presentationml.slide+xml"/>
  <Override PartName="/ppt/slideLayouts/slideLayout26.xml" ContentType="application/vnd.openxmlformats-officedocument.presentationml.slideLayout+xml"/>
  <Override PartName="/ppt/tags/tag87.xml" ContentType="application/vnd.openxmlformats-officedocument.presentationml.tags+xml"/>
  <Override PartName="/ppt/slideLayouts/slideLayout73.xml" ContentType="application/vnd.openxmlformats-officedocument.presentationml.slideLayout+xml"/>
  <Override PartName="/ppt/tags/tag243.xml" ContentType="application/vnd.openxmlformats-officedocument.presentationml.tags+xml"/>
  <Override PartName="/ppt/tags/tag290.xml" ContentType="application/vnd.openxmlformats-officedocument.presentationml.tags+xml"/>
  <Override PartName="/ppt/tags/tag388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ags/tag319.xml" ContentType="application/vnd.openxmlformats-officedocument.presentationml.tags+xml"/>
  <Override PartName="/ppt/slideLayouts/slideLayout151.xml" ContentType="application/vnd.openxmlformats-officedocument.presentationml.slideLayout+xml"/>
  <Override PartName="/ppt/tags/tag366.xml" ContentType="application/vnd.openxmlformats-officedocument.presentationml.tags+xml"/>
  <Override PartName="/ppt/tags/tag18.xml" ContentType="application/vnd.openxmlformats-officedocument.presentationml.tags+xml"/>
  <Override PartName="/ppt/tags/tag65.xml" ContentType="application/vnd.openxmlformats-officedocument.presentationml.tags+xml"/>
  <Override PartName="/ppt/tags/tag158.xml" ContentType="application/vnd.openxmlformats-officedocument.presentationml.tags+xml"/>
  <Override PartName="/ppt/tags/tag221.xml" ContentType="application/vnd.openxmlformats-officedocument.presentationml.tags+xml"/>
  <Override PartName="/ppt/tags/tag43.xml" ContentType="application/vnd.openxmlformats-officedocument.presentationml.tags+xml"/>
  <Override PartName="/ppt/tags/tag90.xml" ContentType="application/vnd.openxmlformats-officedocument.presentationml.tags+xml"/>
  <Override PartName="/ppt/tags/tag344.xml" ContentType="application/vnd.openxmlformats-officedocument.presentationml.tags+xml"/>
  <Override PartName="/ppt/tags/tag391.xml" ContentType="application/vnd.openxmlformats-officedocument.presentationml.tags+xml"/>
  <Override PartName="/ppt/slideLayouts/slideLayout89.xml" ContentType="application/vnd.openxmlformats-officedocument.presentationml.slideLayout+xml"/>
  <Override PartName="/ppt/tags/tag136.xml" ContentType="application/vnd.openxmlformats-officedocument.presentationml.tags+xml"/>
  <Override PartName="/ppt/tags/tag183.xml" ContentType="application/vnd.openxmlformats-officedocument.presentationml.tags+xml"/>
  <Override PartName="/ppt/tags/tag322.xml" ContentType="application/vnd.openxmlformats-officedocument.presentationml.tags+xml"/>
  <Override PartName="/ppt/tags/tag21.xml" ContentType="application/vnd.openxmlformats-officedocument.presentationml.tags+xml"/>
  <Override PartName="/ppt/tags/tag114.xml" ContentType="application/vnd.openxmlformats-officedocument.presentationml.tags+xml"/>
  <Override PartName="/ppt/tags/tag161.xml" ContentType="application/vnd.openxmlformats-officedocument.presentationml.tags+xml"/>
  <Override PartName="/ppt/tags/tag259.xml" ContentType="application/vnd.openxmlformats-officedocument.presentationml.tags+xml"/>
  <Override PartName="/ppt/tags/tag7.xml" ContentType="application/vnd.openxmlformats-officedocument.presentationml.tags+xml"/>
  <Override PartName="/ppt/theme/theme4.xml" ContentType="application/vnd.openxmlformats-officedocument.theme+xml"/>
  <Override PartName="/ppt/slideLayouts/slideLayout67.xml" ContentType="application/vnd.openxmlformats-officedocument.presentationml.slideLayout+xml"/>
  <Override PartName="/ppt/tags/tag300.xml" ContentType="application/vnd.openxmlformats-officedocument.presentationml.tags+xml"/>
  <Override PartName="/ppt/slideLayouts/slideLayout167.xml" ContentType="application/vnd.openxmlformats-officedocument.presentationml.slideLayout+xml"/>
  <Override PartName="/ppt/slideLayouts/slideLayout45.xml" ContentType="application/vnd.openxmlformats-officedocument.presentationml.slideLayout+xml"/>
  <Override PartName="/ppt/tags/tag237.xml" ContentType="application/vnd.openxmlformats-officedocument.presentationml.tags+xml"/>
  <Override PartName="/ppt/tags/tag284.xml" ContentType="application/vnd.openxmlformats-officedocument.presentationml.tags+xml"/>
  <Override PartName="/ppt/slideLayouts/slideLayout145.xml" ContentType="application/vnd.openxmlformats-officedocument.presentationml.slideLayout+xml"/>
  <Override PartName="/ppt/tags/tag59.xml" ContentType="application/vnd.openxmlformats-officedocument.presentationml.tags+xml"/>
  <Override PartName="/ppt/slideLayouts/slideLayout92.xml" ContentType="application/vnd.openxmlformats-officedocument.presentationml.slideLayout+xml"/>
  <Override PartName="/ppt/tags/tag215.xml" ContentType="application/vnd.openxmlformats-officedocument.presentationml.tags+xml"/>
  <Override PartName="/ppt/tags/tag262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37.xml" ContentType="application/vnd.openxmlformats-officedocument.presentationml.tags+xml"/>
  <Override PartName="/ppt/tags/tag84.xml" ContentType="application/vnd.openxmlformats-officedocument.presentationml.tags+xml"/>
  <Override PartName="/ppt/slideLayouts/slideLayout70.xml" ContentType="application/vnd.openxmlformats-officedocument.presentationml.slideLayout+xml"/>
  <Override PartName="/ppt/tags/tag199.xml" ContentType="application/vnd.openxmlformats-officedocument.presentationml.tags+xml"/>
  <Override PartName="/ppt/slideLayouts/slideLayout123.xml" ContentType="application/vnd.openxmlformats-officedocument.presentationml.slideLayout+xml"/>
  <Override PartName="/ppt/tags/tag338.xml" ContentType="application/vnd.openxmlformats-officedocument.presentationml.tags+xml"/>
  <Override PartName="/ppt/slideLayouts/slideLayout170.xml" ContentType="application/vnd.openxmlformats-officedocument.presentationml.slideLayout+xml"/>
  <Override PartName="/ppt/tags/tag385.xml" ContentType="application/vnd.openxmlformats-officedocument.presentationml.tags+xml"/>
  <Override PartName="/ppt/tags/tag177.xml" ContentType="application/vnd.openxmlformats-officedocument.presentationml.tags+xml"/>
  <Override PartName="/ppt/slideLayouts/slideLayout101.xml" ContentType="application/vnd.openxmlformats-officedocument.presentationml.slideLayout+xml"/>
  <Override PartName="/ppt/tags/tag240.xml" ContentType="application/vnd.openxmlformats-officedocument.presentationml.tags+xml"/>
  <Override PartName="/ppt/tags/tag15.xml" ContentType="application/vnd.openxmlformats-officedocument.presentationml.tags+xml"/>
  <Override PartName="/ppt/tags/tag62.xml" ContentType="application/vnd.openxmlformats-officedocument.presentationml.tags+xml"/>
  <Override PartName="/ppt/tags/tag316.xml" ContentType="application/vnd.openxmlformats-officedocument.presentationml.tags+xml"/>
  <Override PartName="/ppt/tags/tag363.xml" ContentType="application/vnd.openxmlformats-officedocument.presentationml.tags+xml"/>
  <Override PartName="/ppt/slideMasters/slideMaster7.xml" ContentType="application/vnd.openxmlformats-officedocument.presentationml.slideMaster+xml"/>
  <Override PartName="/ppt/tags/tag40.xml" ContentType="application/vnd.openxmlformats-officedocument.presentationml.tags+xml"/>
  <Override PartName="/ppt/tags/tag108.xml" ContentType="application/vnd.openxmlformats-officedocument.presentationml.tags+xml"/>
  <Override PartName="/ppt/tags/tag155.xml" ContentType="application/vnd.openxmlformats-officedocument.presentationml.tags+xml"/>
  <Override PartName="/ppt/tags/tag341.xml" ContentType="application/vnd.openxmlformats-officedocument.presentationml.tags+xml"/>
  <Override PartName="/ppt/tags/tag133.xml" ContentType="application/vnd.openxmlformats-officedocument.presentationml.tags+xml"/>
  <Override PartName="/ppt/tags/tag180.xml" ContentType="application/vnd.openxmlformats-officedocument.presentationml.tags+xml"/>
  <Override PartName="/ppt/tags/tag278.xml" ContentType="application/vnd.openxmlformats-officedocument.presentationml.tags+xml"/>
  <Override PartName="/ppt/slideLayouts/slideLayout139.xml" ContentType="application/vnd.openxmlformats-officedocument.presentationml.slideLayout+xml"/>
  <Override PartName="/ppt/diagrams/data1.xml" ContentType="application/vnd.openxmlformats-officedocument.drawingml.diagramData+xml"/>
  <Override PartName="/ppt/diagrams/colors3.xml" ContentType="application/vnd.openxmlformats-officedocument.drawingml.diagramColors+xml"/>
  <Override PartName="/ppt/slideLayouts/slideLayout39.xml" ContentType="application/vnd.openxmlformats-officedocument.presentationml.slideLayout+xml"/>
  <Override PartName="/ppt/slideLayouts/slideLayout86.xml" ContentType="application/vnd.openxmlformats-officedocument.presentationml.slideLayout+xml"/>
  <Override PartName="/ppt/tags/tag209.xml" ContentType="application/vnd.openxmlformats-officedocument.presentationml.tags+xml"/>
  <Override PartName="/ppt/tags/tag256.xml" ContentType="application/vnd.openxmlformats-officedocument.presentationml.tags+xml"/>
  <Override PartName="/ppt/slides/slide18.xml" ContentType="application/vnd.openxmlformats-officedocument.presentationml.slide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tags/tag111.xml" ContentType="application/vnd.openxmlformats-officedocument.presentationml.tags+xml"/>
  <Override PartName="/ppt/slideLayouts/slideLayout64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64.xml" ContentType="application/vnd.openxmlformats-officedocument.presentationml.slideLayout+xml"/>
  <Override PartName="/ppt/diagrams/quickStyle2.xml" ContentType="application/vnd.openxmlformats-officedocument.drawingml.diagramStyle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tags/tag234.xml" ContentType="application/vnd.openxmlformats-officedocument.presentationml.tags+xml"/>
  <Override PartName="/ppt/tags/tag281.xml" ContentType="application/vnd.openxmlformats-officedocument.presentationml.tags+xml"/>
  <Override PartName="/ppt/slideLayouts/slideLayout142.xml" ContentType="application/vnd.openxmlformats-officedocument.presentationml.slideLayout+xml"/>
  <Override PartName="/ppt/tags/tag379.xml" ContentType="application/vnd.openxmlformats-officedocument.presentationml.tags+xml"/>
  <Override PartName="/ppt/slideLayouts/slideLayout42.xml" ContentType="application/vnd.openxmlformats-officedocument.presentationml.slideLayout+xml"/>
  <Override PartName="/ppt/tags/tag56.xml" ContentType="application/vnd.openxmlformats-officedocument.presentationml.tags+xml"/>
  <Override PartName="/ppt/tags/tag357.xml" ContentType="application/vnd.openxmlformats-officedocument.presentationml.tags+xml"/>
  <Override PartName="/ppt/slides/slide21.xml" ContentType="application/vnd.openxmlformats-officedocument.presentationml.slide+xml"/>
  <Override PartName="/ppt/slideLayouts/slideLayout20.xml" ContentType="application/vnd.openxmlformats-officedocument.presentationml.slideLayout+xml"/>
  <Override PartName="/ppt/tags/tag149.xml" ContentType="application/vnd.openxmlformats-officedocument.presentationml.tags+xml"/>
  <Override PartName="/ppt/tags/tag196.xml" ContentType="application/vnd.openxmlformats-officedocument.presentationml.tags+xml"/>
  <Override PartName="/ppt/tags/tag212.xml" ContentType="application/vnd.openxmlformats-officedocument.presentationml.tags+xml"/>
  <Override PartName="/ppt/slideLayouts/slideLayout120.xml" ContentType="application/vnd.openxmlformats-officedocument.presentationml.slideLayout+xml"/>
  <Override PartName="/docProps/custom.xml" ContentType="application/vnd.openxmlformats-officedocument.custom-properties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tags/tag335.xml" ContentType="application/vnd.openxmlformats-officedocument.presentationml.tags+xml"/>
  <Override PartName="/ppt/tags/tag382.xml" ContentType="application/vnd.openxmlformats-officedocument.presentationml.tags+xml"/>
  <Override PartName="/ppt/tags/tag12.xml" ContentType="application/vnd.openxmlformats-officedocument.presentationml.tags+xml"/>
  <Override PartName="/ppt/tags/tag127.xml" ContentType="application/vnd.openxmlformats-officedocument.presentationml.tags+xml"/>
  <Override PartName="/ppt/tags/tag174.xml" ContentType="application/vnd.openxmlformats-officedocument.presentationml.tags+xml"/>
  <Override PartName="/ppt/tags/tag313.xml" ContentType="application/vnd.openxmlformats-officedocument.presentationml.tags+xml"/>
  <Override PartName="/ppt/tags/tag360.xml" ContentType="application/vnd.openxmlformats-officedocument.presentationml.tags+xml"/>
  <Override PartName="/ppt/slideMasters/slideMaster4.xml" ContentType="application/vnd.openxmlformats-officedocument.presentationml.slideMaster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105.xml" ContentType="application/vnd.openxmlformats-officedocument.presentationml.tags+xml"/>
  <Override PartName="/ppt/tags/tag152.xml" ContentType="application/vnd.openxmlformats-officedocument.presentationml.tags+xml"/>
  <Override PartName="/ppt/tags/tag297.xml" ContentType="application/vnd.openxmlformats-officedocument.presentationml.tags+xml"/>
  <Override PartName="/ppt/slideLayouts/slideLayout158.xml" ContentType="application/vnd.openxmlformats-officedocument.presentationml.slideLayout+xml"/>
  <Override PartName="/ppt/slideLayouts/slideLayout58.xml" ContentType="application/vnd.openxmlformats-officedocument.presentationml.slideLayout+xml"/>
  <Override PartName="/ppt/tags/tag228.xml" ContentType="application/vnd.openxmlformats-officedocument.presentationml.tags+xml"/>
  <Override PartName="/ppt/tags/tag275.xml" ContentType="application/vnd.openxmlformats-officedocument.presentationml.tags+xml"/>
  <Override PartName="/ppt/notesSlides/notesSlide3.xml" ContentType="application/vnd.openxmlformats-officedocument.presentationml.notesSlide+xml"/>
  <Override PartName="/ppt/presProps.xml" ContentType="application/vnd.openxmlformats-officedocument.presentationml.presProps+xml"/>
  <Override PartName="/ppt/slideLayouts/slideLayout36.xml" ContentType="application/vnd.openxmlformats-officedocument.presentationml.slideLayout+xml"/>
  <Override PartName="/ppt/tags/tag130.xml" ContentType="application/vnd.openxmlformats-officedocument.presentationml.tags+xml"/>
  <Override PartName="/ppt/slideLayouts/slideLayout83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s/slide15.xml" ContentType="application/vnd.openxmlformats-officedocument.presentationml.slide+xml"/>
  <Override PartName="/ppt/tags/tag97.xml" ContentType="application/vnd.openxmlformats-officedocument.presentationml.tags+xml"/>
  <Override PartName="/ppt/tags/tag206.xml" ContentType="application/vnd.openxmlformats-officedocument.presentationml.tags+xml"/>
  <Override PartName="/ppt/slideLayouts/slideLayout114.xml" ContentType="application/vnd.openxmlformats-officedocument.presentationml.slideLayout+xml"/>
  <Override PartName="/ppt/tags/tag253.xml" ContentType="application/vnd.openxmlformats-officedocument.presentationml.tags+xml"/>
  <Override PartName="/ppt/slideLayouts/slideLayout161.xml" ContentType="application/vnd.openxmlformats-officedocument.presentationml.slideLayout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6" r:id="rId2"/>
    <p:sldMasterId id="2147483691" r:id="rId3"/>
    <p:sldMasterId id="2147483716" r:id="rId4"/>
    <p:sldMasterId id="2147483722" r:id="rId5"/>
    <p:sldMasterId id="2147483743" r:id="rId6"/>
    <p:sldMasterId id="2147483769" r:id="rId7"/>
    <p:sldMasterId id="2147483794" r:id="rId8"/>
    <p:sldMasterId id="2147483845" r:id="rId9"/>
  </p:sldMasterIdLst>
  <p:notesMasterIdLst>
    <p:notesMasterId r:id="rId33"/>
  </p:notesMasterIdLst>
  <p:sldIdLst>
    <p:sldId id="256" r:id="rId10"/>
    <p:sldId id="330" r:id="rId11"/>
    <p:sldId id="331" r:id="rId12"/>
    <p:sldId id="345" r:id="rId13"/>
    <p:sldId id="328" r:id="rId14"/>
    <p:sldId id="346" r:id="rId15"/>
    <p:sldId id="352" r:id="rId16"/>
    <p:sldId id="353" r:id="rId17"/>
    <p:sldId id="260" r:id="rId18"/>
    <p:sldId id="334" r:id="rId19"/>
    <p:sldId id="335" r:id="rId20"/>
    <p:sldId id="336" r:id="rId21"/>
    <p:sldId id="354" r:id="rId22"/>
    <p:sldId id="337" r:id="rId23"/>
    <p:sldId id="338" r:id="rId24"/>
    <p:sldId id="339" r:id="rId25"/>
    <p:sldId id="258" r:id="rId26"/>
    <p:sldId id="261" r:id="rId27"/>
    <p:sldId id="348" r:id="rId28"/>
    <p:sldId id="349" r:id="rId29"/>
    <p:sldId id="350" r:id="rId30"/>
    <p:sldId id="351" r:id="rId31"/>
    <p:sldId id="327" r:id="rId32"/>
  </p:sldIdLst>
  <p:sldSz cx="9144000" cy="6858000" type="screen4x3"/>
  <p:notesSz cx="9144000" cy="6858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71" d="100"/>
          <a:sy n="71" d="100"/>
        </p:scale>
        <p:origin x="-1500" y="-90"/>
      </p:cViewPr>
      <p:guideLst>
        <p:guide orient="horz" pos="2880"/>
        <p:guide pos="216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2.xml"/><Relationship Id="rId34" Type="http://schemas.openxmlformats.org/officeDocument/2006/relationships/presProps" Target="presProp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slide" Target="slides/slide20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slide" Target="slides/slide23.xml"/><Relationship Id="rId37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slide" Target="slides/slide19.xml"/><Relationship Id="rId36" Type="http://schemas.openxmlformats.org/officeDocument/2006/relationships/theme" Target="theme/theme1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slide" Target="slides/slide22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slide" Target="slides/slide18.xml"/><Relationship Id="rId30" Type="http://schemas.openxmlformats.org/officeDocument/2006/relationships/slide" Target="slides/slide21.xml"/><Relationship Id="rId35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58767C1-46E5-434B-8637-6BB62F7877E3}" type="doc">
      <dgm:prSet loTypeId="urn:microsoft.com/office/officeart/2005/8/layout/hProcess7#1" loCatId="process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en-ZA"/>
        </a:p>
      </dgm:t>
    </dgm:pt>
    <dgm:pt modelId="{43FD8BA6-1F61-43CF-B6DD-CFAB471E7394}">
      <dgm:prSet phldrT="[Text]" custT="1"/>
      <dgm:spPr/>
      <dgm:t>
        <a:bodyPr/>
        <a:lstStyle/>
        <a:p>
          <a:pPr algn="ctr">
            <a:lnSpc>
              <a:spcPct val="100000"/>
            </a:lnSpc>
          </a:pPr>
          <a:r>
            <a:rPr lang="en-ZA" sz="2400" b="1" dirty="0"/>
            <a:t>MODEL</a:t>
          </a:r>
        </a:p>
        <a:p>
          <a:pPr algn="l">
            <a:lnSpc>
              <a:spcPct val="100000"/>
            </a:lnSpc>
          </a:pPr>
          <a:r>
            <a:rPr lang="en-US" sz="1600" b="0" dirty="0"/>
            <a:t>1. WAN </a:t>
          </a:r>
          <a:endParaRPr lang="en-ZA" sz="1600" b="0" dirty="0"/>
        </a:p>
      </dgm:t>
    </dgm:pt>
    <dgm:pt modelId="{73822543-EFA6-4193-81C8-27825F02806C}" type="parTrans" cxnId="{EA62C21A-E089-402B-B000-6A3AB7F24C65}">
      <dgm:prSet/>
      <dgm:spPr/>
      <dgm:t>
        <a:bodyPr/>
        <a:lstStyle/>
        <a:p>
          <a:endParaRPr lang="en-ZA"/>
        </a:p>
      </dgm:t>
    </dgm:pt>
    <dgm:pt modelId="{C2D00A49-B29E-4465-A7E9-30054BB347DC}" type="sibTrans" cxnId="{EA62C21A-E089-402B-B000-6A3AB7F24C65}">
      <dgm:prSet/>
      <dgm:spPr/>
      <dgm:t>
        <a:bodyPr/>
        <a:lstStyle/>
        <a:p>
          <a:endParaRPr lang="en-ZA"/>
        </a:p>
      </dgm:t>
    </dgm:pt>
    <dgm:pt modelId="{55F7B3EC-B00C-4B10-A3D6-9F0576A5A53F}">
      <dgm:prSet custT="1"/>
      <dgm:spPr/>
      <dgm:t>
        <a:bodyPr/>
        <a:lstStyle/>
        <a:p>
          <a:pPr algn="l">
            <a:lnSpc>
              <a:spcPct val="100000"/>
            </a:lnSpc>
          </a:pPr>
          <a:r>
            <a:rPr lang="en-US" sz="1600" b="0" dirty="0"/>
            <a:t>8. Appropriate Teacher Development  translates into ICT integrated into lessons</a:t>
          </a:r>
          <a:endParaRPr lang="en-ZA" sz="1600" b="0" dirty="0"/>
        </a:p>
      </dgm:t>
    </dgm:pt>
    <dgm:pt modelId="{833F3F7E-EA3A-4940-9366-796DA2DBE1F5}" type="parTrans" cxnId="{10AF0D4E-4077-4083-A333-C92EADB5CA9D}">
      <dgm:prSet/>
      <dgm:spPr/>
      <dgm:t>
        <a:bodyPr/>
        <a:lstStyle/>
        <a:p>
          <a:endParaRPr lang="en-ZA"/>
        </a:p>
      </dgm:t>
    </dgm:pt>
    <dgm:pt modelId="{27084A76-6FE9-47B6-BB83-3827169783AB}" type="sibTrans" cxnId="{10AF0D4E-4077-4083-A333-C92EADB5CA9D}">
      <dgm:prSet/>
      <dgm:spPr/>
      <dgm:t>
        <a:bodyPr/>
        <a:lstStyle/>
        <a:p>
          <a:endParaRPr lang="en-ZA"/>
        </a:p>
      </dgm:t>
    </dgm:pt>
    <dgm:pt modelId="{F6DF2E66-5AD5-4A32-BAE3-7449FA79FF8F}">
      <dgm:prSet custT="1"/>
      <dgm:spPr>
        <a:solidFill>
          <a:srgbClr val="C00000"/>
        </a:solidFill>
      </dgm:spPr>
      <dgm:t>
        <a:bodyPr/>
        <a:lstStyle/>
        <a:p>
          <a:pPr>
            <a:lnSpc>
              <a:spcPct val="100000"/>
            </a:lnSpc>
          </a:pPr>
          <a:r>
            <a:rPr lang="en-ZA" sz="2400" b="1" dirty="0"/>
            <a:t>X Number Schools</a:t>
          </a:r>
          <a:endParaRPr lang="en-ZA" sz="1300" b="0" dirty="0"/>
        </a:p>
      </dgm:t>
    </dgm:pt>
    <dgm:pt modelId="{94BA5F44-B858-4175-A6C6-6F27FA250A0D}" type="parTrans" cxnId="{4A19C448-66DB-4E00-8C80-9D00D0B42CDA}">
      <dgm:prSet/>
      <dgm:spPr/>
      <dgm:t>
        <a:bodyPr/>
        <a:lstStyle/>
        <a:p>
          <a:endParaRPr lang="en-ZA"/>
        </a:p>
      </dgm:t>
    </dgm:pt>
    <dgm:pt modelId="{CEF5E692-F6E1-4FC4-ADFF-3F69188829B8}" type="sibTrans" cxnId="{4A19C448-66DB-4E00-8C80-9D00D0B42CDA}">
      <dgm:prSet/>
      <dgm:spPr/>
      <dgm:t>
        <a:bodyPr/>
        <a:lstStyle/>
        <a:p>
          <a:endParaRPr lang="en-ZA"/>
        </a:p>
      </dgm:t>
    </dgm:pt>
    <dgm:pt modelId="{B8078F72-A487-451C-B174-C5BD13364259}">
      <dgm:prSet phldrT="[Text]" custT="1"/>
      <dgm:spPr/>
      <dgm:t>
        <a:bodyPr/>
        <a:lstStyle/>
        <a:p>
          <a:endParaRPr lang="en-US" sz="600" b="0" dirty="0"/>
        </a:p>
      </dgm:t>
    </dgm:pt>
    <dgm:pt modelId="{07E0D971-0C73-43CA-B07F-FE6794C76FBD}" type="parTrans" cxnId="{9571068B-CB2F-4186-ABE5-81B2E4412971}">
      <dgm:prSet/>
      <dgm:spPr/>
      <dgm:t>
        <a:bodyPr/>
        <a:lstStyle/>
        <a:p>
          <a:endParaRPr lang="en-US"/>
        </a:p>
      </dgm:t>
    </dgm:pt>
    <dgm:pt modelId="{433B714E-EF7D-437D-B906-150CF1D1AEDB}" type="sibTrans" cxnId="{9571068B-CB2F-4186-ABE5-81B2E4412971}">
      <dgm:prSet/>
      <dgm:spPr/>
      <dgm:t>
        <a:bodyPr/>
        <a:lstStyle/>
        <a:p>
          <a:endParaRPr lang="en-US"/>
        </a:p>
      </dgm:t>
    </dgm:pt>
    <dgm:pt modelId="{23261F30-B4A1-4550-991D-80595BE78179}">
      <dgm:prSet phldrT="[Text]" custT="1"/>
      <dgm:spPr/>
      <dgm:t>
        <a:bodyPr/>
        <a:lstStyle/>
        <a:p>
          <a:r>
            <a:rPr lang="en-US" sz="1600" b="0" dirty="0"/>
            <a:t>2. SLIM LABs</a:t>
          </a:r>
        </a:p>
      </dgm:t>
    </dgm:pt>
    <dgm:pt modelId="{9497FD7C-F997-4C1A-9C7A-099A90894CED}" type="parTrans" cxnId="{633E31B6-D765-4957-8452-49EC106A32DA}">
      <dgm:prSet/>
      <dgm:spPr/>
      <dgm:t>
        <a:bodyPr/>
        <a:lstStyle/>
        <a:p>
          <a:endParaRPr lang="en-US"/>
        </a:p>
      </dgm:t>
    </dgm:pt>
    <dgm:pt modelId="{D70AD819-89D4-456A-8508-AB1BBE146AD4}" type="sibTrans" cxnId="{633E31B6-D765-4957-8452-49EC106A32DA}">
      <dgm:prSet/>
      <dgm:spPr/>
      <dgm:t>
        <a:bodyPr/>
        <a:lstStyle/>
        <a:p>
          <a:endParaRPr lang="en-US"/>
        </a:p>
      </dgm:t>
    </dgm:pt>
    <dgm:pt modelId="{AFB41C02-50A9-475D-A7EE-34048EAD4674}">
      <dgm:prSet phldrT="[Text]" custT="1"/>
      <dgm:spPr/>
      <dgm:t>
        <a:bodyPr/>
        <a:lstStyle/>
        <a:p>
          <a:endParaRPr lang="en-US" sz="600" b="0" dirty="0"/>
        </a:p>
      </dgm:t>
    </dgm:pt>
    <dgm:pt modelId="{A8E5EB7C-6D8F-4246-A794-1050B3E14317}" type="parTrans" cxnId="{BE34A99A-A62E-4CA9-9636-FADCADCCEA81}">
      <dgm:prSet/>
      <dgm:spPr/>
      <dgm:t>
        <a:bodyPr/>
        <a:lstStyle/>
        <a:p>
          <a:endParaRPr lang="en-US"/>
        </a:p>
      </dgm:t>
    </dgm:pt>
    <dgm:pt modelId="{03D8EF83-6FC1-47B4-A41D-A5424646B60B}" type="sibTrans" cxnId="{BE34A99A-A62E-4CA9-9636-FADCADCCEA81}">
      <dgm:prSet/>
      <dgm:spPr/>
      <dgm:t>
        <a:bodyPr/>
        <a:lstStyle/>
        <a:p>
          <a:endParaRPr lang="en-US"/>
        </a:p>
      </dgm:t>
    </dgm:pt>
    <dgm:pt modelId="{CCACAF1B-78DA-48B1-AA93-D098F15DA4AC}">
      <dgm:prSet phldrT="[Text]" custT="1"/>
      <dgm:spPr/>
      <dgm:t>
        <a:bodyPr/>
        <a:lstStyle/>
        <a:p>
          <a:r>
            <a:rPr lang="en-US" sz="1600" b="0" dirty="0"/>
            <a:t>3. LAN (Wi-Fi)</a:t>
          </a:r>
        </a:p>
      </dgm:t>
    </dgm:pt>
    <dgm:pt modelId="{088DCA98-E2F5-4E21-BBDA-BC1E8BB6E26A}" type="parTrans" cxnId="{A497E6BA-8A06-486D-8B4C-801B10CF694E}">
      <dgm:prSet/>
      <dgm:spPr/>
      <dgm:t>
        <a:bodyPr/>
        <a:lstStyle/>
        <a:p>
          <a:endParaRPr lang="en-US"/>
        </a:p>
      </dgm:t>
    </dgm:pt>
    <dgm:pt modelId="{958AF5B3-7F82-4019-B9D0-AC11F9605624}" type="sibTrans" cxnId="{A497E6BA-8A06-486D-8B4C-801B10CF694E}">
      <dgm:prSet/>
      <dgm:spPr/>
      <dgm:t>
        <a:bodyPr/>
        <a:lstStyle/>
        <a:p>
          <a:endParaRPr lang="en-US"/>
        </a:p>
      </dgm:t>
    </dgm:pt>
    <dgm:pt modelId="{6210625A-3B81-4921-A971-26A1A2D717EC}">
      <dgm:prSet phldrT="[Text]" custT="1"/>
      <dgm:spPr/>
      <dgm:t>
        <a:bodyPr/>
        <a:lstStyle/>
        <a:p>
          <a:endParaRPr lang="en-US" sz="600" b="0" dirty="0"/>
        </a:p>
      </dgm:t>
    </dgm:pt>
    <dgm:pt modelId="{1D6FF1C2-3BE2-48E5-A836-E14E089D3A60}" type="parTrans" cxnId="{396DC90C-C0BE-4777-A584-E00F213BF7A1}">
      <dgm:prSet/>
      <dgm:spPr/>
      <dgm:t>
        <a:bodyPr/>
        <a:lstStyle/>
        <a:p>
          <a:endParaRPr lang="en-US"/>
        </a:p>
      </dgm:t>
    </dgm:pt>
    <dgm:pt modelId="{9FBAA63F-C9FD-470D-9625-D868CE4E9FC8}" type="sibTrans" cxnId="{396DC90C-C0BE-4777-A584-E00F213BF7A1}">
      <dgm:prSet/>
      <dgm:spPr/>
      <dgm:t>
        <a:bodyPr/>
        <a:lstStyle/>
        <a:p>
          <a:endParaRPr lang="en-US"/>
        </a:p>
      </dgm:t>
    </dgm:pt>
    <dgm:pt modelId="{1FB3ABEE-25EC-41DF-B8D9-3C9D9E53EA9F}">
      <dgm:prSet phldrT="[Text]" custT="1"/>
      <dgm:spPr/>
      <dgm:t>
        <a:bodyPr/>
        <a:lstStyle/>
        <a:p>
          <a:r>
            <a:rPr lang="en-US" sz="1600" b="0" dirty="0"/>
            <a:t>4. Smart classrooms </a:t>
          </a:r>
        </a:p>
        <a:p>
          <a:r>
            <a:rPr lang="en-US" sz="1600" b="0" dirty="0"/>
            <a:t>    100%</a:t>
          </a:r>
        </a:p>
        <a:p>
          <a:endParaRPr lang="en-US" sz="700" b="0" dirty="0"/>
        </a:p>
        <a:p>
          <a:r>
            <a:rPr lang="en-US" sz="1600" b="1" dirty="0"/>
            <a:t>5. Learner devices</a:t>
          </a:r>
        </a:p>
        <a:p>
          <a:endParaRPr lang="en-US" sz="600" b="0" dirty="0"/>
        </a:p>
      </dgm:t>
    </dgm:pt>
    <dgm:pt modelId="{AA38D130-A4CF-4558-8BDA-217BB9C504C7}" type="parTrans" cxnId="{2631B377-4080-44B2-858A-AF94893BF2BA}">
      <dgm:prSet/>
      <dgm:spPr/>
      <dgm:t>
        <a:bodyPr/>
        <a:lstStyle/>
        <a:p>
          <a:endParaRPr lang="en-US"/>
        </a:p>
      </dgm:t>
    </dgm:pt>
    <dgm:pt modelId="{E4F66779-D6BB-424F-AA87-542603CD78EF}" type="sibTrans" cxnId="{2631B377-4080-44B2-858A-AF94893BF2BA}">
      <dgm:prSet/>
      <dgm:spPr/>
      <dgm:t>
        <a:bodyPr/>
        <a:lstStyle/>
        <a:p>
          <a:endParaRPr lang="en-US"/>
        </a:p>
      </dgm:t>
    </dgm:pt>
    <dgm:pt modelId="{B59F6242-AFF0-462A-AD2E-1CCCCA8D0804}">
      <dgm:prSet phldrT="[Text]" custT="1"/>
      <dgm:spPr/>
      <dgm:t>
        <a:bodyPr/>
        <a:lstStyle/>
        <a:p>
          <a:pPr algn="l">
            <a:lnSpc>
              <a:spcPct val="100000"/>
            </a:lnSpc>
          </a:pPr>
          <a:r>
            <a:rPr lang="en-ZA" sz="1600" b="0" dirty="0"/>
            <a:t>6. Excellent Leadership and innovation in place</a:t>
          </a:r>
        </a:p>
        <a:p>
          <a:pPr algn="l">
            <a:lnSpc>
              <a:spcPct val="100000"/>
            </a:lnSpc>
          </a:pPr>
          <a:endParaRPr lang="en-ZA" sz="600" b="0" dirty="0"/>
        </a:p>
        <a:p>
          <a:pPr algn="l">
            <a:lnSpc>
              <a:spcPct val="100000"/>
            </a:lnSpc>
          </a:pPr>
          <a:r>
            <a:rPr lang="en-ZA" sz="1600" b="0" dirty="0"/>
            <a:t>7. Must serve as a example/ inspiration to other schools.</a:t>
          </a:r>
        </a:p>
        <a:p>
          <a:pPr algn="l">
            <a:lnSpc>
              <a:spcPct val="100000"/>
            </a:lnSpc>
          </a:pPr>
          <a:endParaRPr lang="en-US" sz="600" b="0" dirty="0"/>
        </a:p>
      </dgm:t>
    </dgm:pt>
    <dgm:pt modelId="{CFD26A9B-EC2E-4DC8-833F-5F1863F4BB57}" type="parTrans" cxnId="{98537F6F-08D6-4DF4-B156-69AB457CE4E5}">
      <dgm:prSet/>
      <dgm:spPr/>
      <dgm:t>
        <a:bodyPr/>
        <a:lstStyle/>
        <a:p>
          <a:endParaRPr lang="en-US"/>
        </a:p>
      </dgm:t>
    </dgm:pt>
    <dgm:pt modelId="{5BBCAABF-00B2-4F38-AF01-5852F904D08B}" type="sibTrans" cxnId="{98537F6F-08D6-4DF4-B156-69AB457CE4E5}">
      <dgm:prSet/>
      <dgm:spPr/>
      <dgm:t>
        <a:bodyPr/>
        <a:lstStyle/>
        <a:p>
          <a:endParaRPr lang="en-US"/>
        </a:p>
      </dgm:t>
    </dgm:pt>
    <dgm:pt modelId="{C3E9F819-5354-4C8F-B3AB-1786E91D08F1}" type="pres">
      <dgm:prSet presAssocID="{C58767C1-46E5-434B-8637-6BB62F7877E3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ZA"/>
        </a:p>
      </dgm:t>
    </dgm:pt>
    <dgm:pt modelId="{52DFE8F8-5516-4F1B-A1A6-4A4EDFA86FB4}" type="pres">
      <dgm:prSet presAssocID="{F6DF2E66-5AD5-4A32-BAE3-7449FA79FF8F}" presName="compositeNode" presStyleCnt="0">
        <dgm:presLayoutVars>
          <dgm:bulletEnabled val="1"/>
        </dgm:presLayoutVars>
      </dgm:prSet>
      <dgm:spPr/>
    </dgm:pt>
    <dgm:pt modelId="{EAC1D980-8096-46F4-A81E-3BDFAB0E92CF}" type="pres">
      <dgm:prSet presAssocID="{F6DF2E66-5AD5-4A32-BAE3-7449FA79FF8F}" presName="bgRect" presStyleLbl="node1" presStyleIdx="0" presStyleCnt="1" custScaleY="164800" custLinFactNeighborX="-807"/>
      <dgm:spPr/>
      <dgm:t>
        <a:bodyPr/>
        <a:lstStyle/>
        <a:p>
          <a:endParaRPr lang="en-ZA"/>
        </a:p>
      </dgm:t>
    </dgm:pt>
    <dgm:pt modelId="{953D2F05-8FCC-4AD0-9142-5AFFF5BFE95D}" type="pres">
      <dgm:prSet presAssocID="{F6DF2E66-5AD5-4A32-BAE3-7449FA79FF8F}" presName="parentNode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F3BD5E7A-62E5-4C02-AECB-954AA50F8D93}" type="pres">
      <dgm:prSet presAssocID="{F6DF2E66-5AD5-4A32-BAE3-7449FA79FF8F}" presName="childNode" presStyleLbl="node1" presStyleIdx="0" presStyleCnt="1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</dgm:ptLst>
  <dgm:cxnLst>
    <dgm:cxn modelId="{B97855F8-E1BB-46FB-81B1-B32232709354}" type="presOf" srcId="{B59F6242-AFF0-462A-AD2E-1CCCCA8D0804}" destId="{F3BD5E7A-62E5-4C02-AECB-954AA50F8D93}" srcOrd="0" destOrd="7" presId="urn:microsoft.com/office/officeart/2005/8/layout/hProcess7#1"/>
    <dgm:cxn modelId="{C74E29AE-F381-4557-9D5A-2DFA68EFB36E}" type="presOf" srcId="{AFB41C02-50A9-475D-A7EE-34048EAD4674}" destId="{F3BD5E7A-62E5-4C02-AECB-954AA50F8D93}" srcOrd="0" destOrd="3" presId="urn:microsoft.com/office/officeart/2005/8/layout/hProcess7#1"/>
    <dgm:cxn modelId="{BE34A99A-A62E-4CA9-9636-FADCADCCEA81}" srcId="{F6DF2E66-5AD5-4A32-BAE3-7449FA79FF8F}" destId="{AFB41C02-50A9-475D-A7EE-34048EAD4674}" srcOrd="3" destOrd="0" parTransId="{A8E5EB7C-6D8F-4246-A794-1050B3E14317}" sibTransId="{03D8EF83-6FC1-47B4-A41D-A5424646B60B}"/>
    <dgm:cxn modelId="{D46DFA03-764C-478C-AE2F-2E4E4E58125B}" type="presOf" srcId="{23261F30-B4A1-4550-991D-80595BE78179}" destId="{F3BD5E7A-62E5-4C02-AECB-954AA50F8D93}" srcOrd="0" destOrd="2" presId="urn:microsoft.com/office/officeart/2005/8/layout/hProcess7#1"/>
    <dgm:cxn modelId="{0A789DBA-F449-4911-91EA-844654CF64C1}" type="presOf" srcId="{55F7B3EC-B00C-4B10-A3D6-9F0576A5A53F}" destId="{F3BD5E7A-62E5-4C02-AECB-954AA50F8D93}" srcOrd="0" destOrd="8" presId="urn:microsoft.com/office/officeart/2005/8/layout/hProcess7#1"/>
    <dgm:cxn modelId="{396DC90C-C0BE-4777-A584-E00F213BF7A1}" srcId="{F6DF2E66-5AD5-4A32-BAE3-7449FA79FF8F}" destId="{6210625A-3B81-4921-A971-26A1A2D717EC}" srcOrd="5" destOrd="0" parTransId="{1D6FF1C2-3BE2-48E5-A836-E14E089D3A60}" sibTransId="{9FBAA63F-C9FD-470D-9625-D868CE4E9FC8}"/>
    <dgm:cxn modelId="{2631B377-4080-44B2-858A-AF94893BF2BA}" srcId="{F6DF2E66-5AD5-4A32-BAE3-7449FA79FF8F}" destId="{1FB3ABEE-25EC-41DF-B8D9-3C9D9E53EA9F}" srcOrd="6" destOrd="0" parTransId="{AA38D130-A4CF-4558-8BDA-217BB9C504C7}" sibTransId="{E4F66779-D6BB-424F-AA87-542603CD78EF}"/>
    <dgm:cxn modelId="{98537F6F-08D6-4DF4-B156-69AB457CE4E5}" srcId="{F6DF2E66-5AD5-4A32-BAE3-7449FA79FF8F}" destId="{B59F6242-AFF0-462A-AD2E-1CCCCA8D0804}" srcOrd="7" destOrd="0" parTransId="{CFD26A9B-EC2E-4DC8-833F-5F1863F4BB57}" sibTransId="{5BBCAABF-00B2-4F38-AF01-5852F904D08B}"/>
    <dgm:cxn modelId="{4A19C448-66DB-4E00-8C80-9D00D0B42CDA}" srcId="{C58767C1-46E5-434B-8637-6BB62F7877E3}" destId="{F6DF2E66-5AD5-4A32-BAE3-7449FA79FF8F}" srcOrd="0" destOrd="0" parTransId="{94BA5F44-B858-4175-A6C6-6F27FA250A0D}" sibTransId="{CEF5E692-F6E1-4FC4-ADFF-3F69188829B8}"/>
    <dgm:cxn modelId="{6A47C1FC-9B56-41A3-9E42-764698A03085}" type="presOf" srcId="{CCACAF1B-78DA-48B1-AA93-D098F15DA4AC}" destId="{F3BD5E7A-62E5-4C02-AECB-954AA50F8D93}" srcOrd="0" destOrd="4" presId="urn:microsoft.com/office/officeart/2005/8/layout/hProcess7#1"/>
    <dgm:cxn modelId="{10AF0D4E-4077-4083-A333-C92EADB5CA9D}" srcId="{F6DF2E66-5AD5-4A32-BAE3-7449FA79FF8F}" destId="{55F7B3EC-B00C-4B10-A3D6-9F0576A5A53F}" srcOrd="8" destOrd="0" parTransId="{833F3F7E-EA3A-4940-9366-796DA2DBE1F5}" sibTransId="{27084A76-6FE9-47B6-BB83-3827169783AB}"/>
    <dgm:cxn modelId="{33FC531A-AE55-48CA-8968-02795D8787A9}" type="presOf" srcId="{43FD8BA6-1F61-43CF-B6DD-CFAB471E7394}" destId="{F3BD5E7A-62E5-4C02-AECB-954AA50F8D93}" srcOrd="0" destOrd="0" presId="urn:microsoft.com/office/officeart/2005/8/layout/hProcess7#1"/>
    <dgm:cxn modelId="{EA62C21A-E089-402B-B000-6A3AB7F24C65}" srcId="{F6DF2E66-5AD5-4A32-BAE3-7449FA79FF8F}" destId="{43FD8BA6-1F61-43CF-B6DD-CFAB471E7394}" srcOrd="0" destOrd="0" parTransId="{73822543-EFA6-4193-81C8-27825F02806C}" sibTransId="{C2D00A49-B29E-4465-A7E9-30054BB347DC}"/>
    <dgm:cxn modelId="{8DDC81A3-86B5-406B-AEDE-54343F608D4B}" type="presOf" srcId="{C58767C1-46E5-434B-8637-6BB62F7877E3}" destId="{C3E9F819-5354-4C8F-B3AB-1786E91D08F1}" srcOrd="0" destOrd="0" presId="urn:microsoft.com/office/officeart/2005/8/layout/hProcess7#1"/>
    <dgm:cxn modelId="{10DD0036-D871-4D28-854E-5AF44196BB4E}" type="presOf" srcId="{1FB3ABEE-25EC-41DF-B8D9-3C9D9E53EA9F}" destId="{F3BD5E7A-62E5-4C02-AECB-954AA50F8D93}" srcOrd="0" destOrd="6" presId="urn:microsoft.com/office/officeart/2005/8/layout/hProcess7#1"/>
    <dgm:cxn modelId="{297B5466-7A3F-4EB2-AF95-096BBC1AB748}" type="presOf" srcId="{B8078F72-A487-451C-B174-C5BD13364259}" destId="{F3BD5E7A-62E5-4C02-AECB-954AA50F8D93}" srcOrd="0" destOrd="1" presId="urn:microsoft.com/office/officeart/2005/8/layout/hProcess7#1"/>
    <dgm:cxn modelId="{A497E6BA-8A06-486D-8B4C-801B10CF694E}" srcId="{F6DF2E66-5AD5-4A32-BAE3-7449FA79FF8F}" destId="{CCACAF1B-78DA-48B1-AA93-D098F15DA4AC}" srcOrd="4" destOrd="0" parTransId="{088DCA98-E2F5-4E21-BBDA-BC1E8BB6E26A}" sibTransId="{958AF5B3-7F82-4019-B9D0-AC11F9605624}"/>
    <dgm:cxn modelId="{E0B121A6-675C-4397-8FF7-883CACE2F0CE}" type="presOf" srcId="{F6DF2E66-5AD5-4A32-BAE3-7449FA79FF8F}" destId="{EAC1D980-8096-46F4-A81E-3BDFAB0E92CF}" srcOrd="0" destOrd="0" presId="urn:microsoft.com/office/officeart/2005/8/layout/hProcess7#1"/>
    <dgm:cxn modelId="{633E31B6-D765-4957-8452-49EC106A32DA}" srcId="{F6DF2E66-5AD5-4A32-BAE3-7449FA79FF8F}" destId="{23261F30-B4A1-4550-991D-80595BE78179}" srcOrd="2" destOrd="0" parTransId="{9497FD7C-F997-4C1A-9C7A-099A90894CED}" sibTransId="{D70AD819-89D4-456A-8508-AB1BBE146AD4}"/>
    <dgm:cxn modelId="{1951FB2F-9A5B-4CE5-B3E7-BE6266128410}" type="presOf" srcId="{F6DF2E66-5AD5-4A32-BAE3-7449FA79FF8F}" destId="{953D2F05-8FCC-4AD0-9142-5AFFF5BFE95D}" srcOrd="1" destOrd="0" presId="urn:microsoft.com/office/officeart/2005/8/layout/hProcess7#1"/>
    <dgm:cxn modelId="{DA588B4E-784C-4AF7-94A1-DB42FA9BA099}" type="presOf" srcId="{6210625A-3B81-4921-A971-26A1A2D717EC}" destId="{F3BD5E7A-62E5-4C02-AECB-954AA50F8D93}" srcOrd="0" destOrd="5" presId="urn:microsoft.com/office/officeart/2005/8/layout/hProcess7#1"/>
    <dgm:cxn modelId="{9571068B-CB2F-4186-ABE5-81B2E4412971}" srcId="{F6DF2E66-5AD5-4A32-BAE3-7449FA79FF8F}" destId="{B8078F72-A487-451C-B174-C5BD13364259}" srcOrd="1" destOrd="0" parTransId="{07E0D971-0C73-43CA-B07F-FE6794C76FBD}" sibTransId="{433B714E-EF7D-437D-B906-150CF1D1AEDB}"/>
    <dgm:cxn modelId="{8FE4D6DD-B2E1-4113-8DC1-C0C9ACEF0199}" type="presParOf" srcId="{C3E9F819-5354-4C8F-B3AB-1786E91D08F1}" destId="{52DFE8F8-5516-4F1B-A1A6-4A4EDFA86FB4}" srcOrd="0" destOrd="0" presId="urn:microsoft.com/office/officeart/2005/8/layout/hProcess7#1"/>
    <dgm:cxn modelId="{E4A4060C-435D-4F23-A792-D2FDA1CA09F7}" type="presParOf" srcId="{52DFE8F8-5516-4F1B-A1A6-4A4EDFA86FB4}" destId="{EAC1D980-8096-46F4-A81E-3BDFAB0E92CF}" srcOrd="0" destOrd="0" presId="urn:microsoft.com/office/officeart/2005/8/layout/hProcess7#1"/>
    <dgm:cxn modelId="{59C9C38C-9BEB-4A49-B2BA-277039BC445E}" type="presParOf" srcId="{52DFE8F8-5516-4F1B-A1A6-4A4EDFA86FB4}" destId="{953D2F05-8FCC-4AD0-9142-5AFFF5BFE95D}" srcOrd="1" destOrd="0" presId="urn:microsoft.com/office/officeart/2005/8/layout/hProcess7#1"/>
    <dgm:cxn modelId="{A824C8A1-C7C9-4199-819E-64D121170813}" type="presParOf" srcId="{52DFE8F8-5516-4F1B-A1A6-4A4EDFA86FB4}" destId="{F3BD5E7A-62E5-4C02-AECB-954AA50F8D93}" srcOrd="2" destOrd="0" presId="urn:microsoft.com/office/officeart/2005/8/layout/hProcess7#1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58767C1-46E5-434B-8637-6BB62F7877E3}" type="doc">
      <dgm:prSet loTypeId="urn:microsoft.com/office/officeart/2005/8/layout/hProcess7#2" loCatId="process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en-ZA"/>
        </a:p>
      </dgm:t>
    </dgm:pt>
    <dgm:pt modelId="{1549BF2C-F491-44BA-8225-F3FC47562E80}">
      <dgm:prSet phldrT="[Text]" custT="1"/>
      <dgm:spPr/>
      <dgm:t>
        <a:bodyPr/>
        <a:lstStyle/>
        <a:p>
          <a:pPr algn="ctr">
            <a:lnSpc>
              <a:spcPct val="100000"/>
            </a:lnSpc>
          </a:pPr>
          <a:r>
            <a:rPr lang="en-ZA" sz="2400" b="1" dirty="0"/>
            <a:t>ENHANCED</a:t>
          </a:r>
        </a:p>
        <a:p>
          <a:pPr algn="l">
            <a:lnSpc>
              <a:spcPct val="100000"/>
            </a:lnSpc>
          </a:pPr>
          <a:r>
            <a:rPr lang="en-US" sz="1600" b="0" dirty="0"/>
            <a:t>1. WAN </a:t>
          </a:r>
          <a:endParaRPr lang="en-ZA" sz="1600" b="0" dirty="0"/>
        </a:p>
      </dgm:t>
    </dgm:pt>
    <dgm:pt modelId="{567317FF-B075-45A6-9402-4A2F4352B114}" type="parTrans" cxnId="{89FCC8BE-4702-4916-9E06-5674972653C3}">
      <dgm:prSet/>
      <dgm:spPr/>
      <dgm:t>
        <a:bodyPr/>
        <a:lstStyle/>
        <a:p>
          <a:endParaRPr lang="en-ZA"/>
        </a:p>
      </dgm:t>
    </dgm:pt>
    <dgm:pt modelId="{AA516A79-44E4-4CA9-A5BD-8FE1D722EB7E}" type="sibTrans" cxnId="{89FCC8BE-4702-4916-9E06-5674972653C3}">
      <dgm:prSet/>
      <dgm:spPr/>
      <dgm:t>
        <a:bodyPr/>
        <a:lstStyle/>
        <a:p>
          <a:endParaRPr lang="en-ZA"/>
        </a:p>
      </dgm:t>
    </dgm:pt>
    <dgm:pt modelId="{EB5A5961-6372-492F-B208-10C31A10CD29}">
      <dgm:prSet phldrT="[Text]" custT="1"/>
      <dgm:spPr>
        <a:solidFill>
          <a:schemeClr val="accent5">
            <a:lumMod val="75000"/>
          </a:schemeClr>
        </a:solidFill>
      </dgm:spPr>
      <dgm:t>
        <a:bodyPr/>
        <a:lstStyle/>
        <a:p>
          <a:pPr>
            <a:lnSpc>
              <a:spcPct val="100000"/>
            </a:lnSpc>
          </a:pPr>
          <a:r>
            <a:rPr lang="en-ZA" sz="2400" b="1" dirty="0"/>
            <a:t>X number of Schools</a:t>
          </a:r>
        </a:p>
      </dgm:t>
    </dgm:pt>
    <dgm:pt modelId="{34ED145D-291E-4278-83DC-201629A23C47}" type="sibTrans" cxnId="{2B0F0CBA-FB4D-45C3-BF1F-2930B4F08AEE}">
      <dgm:prSet/>
      <dgm:spPr/>
      <dgm:t>
        <a:bodyPr/>
        <a:lstStyle/>
        <a:p>
          <a:endParaRPr lang="en-ZA"/>
        </a:p>
      </dgm:t>
    </dgm:pt>
    <dgm:pt modelId="{A01BA4DC-A477-4DAF-B50A-9C45E2DF44B3}" type="parTrans" cxnId="{2B0F0CBA-FB4D-45C3-BF1F-2930B4F08AEE}">
      <dgm:prSet/>
      <dgm:spPr/>
      <dgm:t>
        <a:bodyPr/>
        <a:lstStyle/>
        <a:p>
          <a:endParaRPr lang="en-ZA"/>
        </a:p>
      </dgm:t>
    </dgm:pt>
    <dgm:pt modelId="{220A50A5-56E9-4953-BFC1-7DAEA839E424}">
      <dgm:prSet phldrT="[Text]" custT="1"/>
      <dgm:spPr/>
      <dgm:t>
        <a:bodyPr/>
        <a:lstStyle/>
        <a:p>
          <a:pPr algn="l">
            <a:lnSpc>
              <a:spcPct val="100000"/>
            </a:lnSpc>
          </a:pPr>
          <a:endParaRPr lang="en-US" sz="1600" b="0" dirty="0"/>
        </a:p>
      </dgm:t>
    </dgm:pt>
    <dgm:pt modelId="{542ECF4F-19CE-4E6A-A23D-3072AE1C3DA8}" type="parTrans" cxnId="{6E682DA4-023C-4264-A768-F3D78A97074D}">
      <dgm:prSet/>
      <dgm:spPr/>
      <dgm:t>
        <a:bodyPr/>
        <a:lstStyle/>
        <a:p>
          <a:endParaRPr lang="en-US"/>
        </a:p>
      </dgm:t>
    </dgm:pt>
    <dgm:pt modelId="{CC81967F-E459-4002-AF84-0880C25F06BA}" type="sibTrans" cxnId="{6E682DA4-023C-4264-A768-F3D78A97074D}">
      <dgm:prSet/>
      <dgm:spPr/>
      <dgm:t>
        <a:bodyPr/>
        <a:lstStyle/>
        <a:p>
          <a:endParaRPr lang="en-US"/>
        </a:p>
      </dgm:t>
    </dgm:pt>
    <dgm:pt modelId="{0D7DEE4B-ED0F-4A18-A728-B0C8857BD2F6}">
      <dgm:prSet phldrT="[Text]" custT="1"/>
      <dgm:spPr/>
      <dgm:t>
        <a:bodyPr/>
        <a:lstStyle/>
        <a:p>
          <a:pPr algn="l">
            <a:lnSpc>
              <a:spcPct val="100000"/>
            </a:lnSpc>
          </a:pPr>
          <a:r>
            <a:rPr lang="en-US" sz="1600" b="0" dirty="0"/>
            <a:t>2. SLIM LABs</a:t>
          </a:r>
        </a:p>
      </dgm:t>
    </dgm:pt>
    <dgm:pt modelId="{5C0AAD71-8B6B-437D-BDB8-42672564106E}" type="parTrans" cxnId="{A554F78D-B4F1-46E6-B96F-F2A962D60370}">
      <dgm:prSet/>
      <dgm:spPr/>
      <dgm:t>
        <a:bodyPr/>
        <a:lstStyle/>
        <a:p>
          <a:endParaRPr lang="en-US"/>
        </a:p>
      </dgm:t>
    </dgm:pt>
    <dgm:pt modelId="{03A7C9D4-7B58-405A-93C3-4C6A8D86AEEC}" type="sibTrans" cxnId="{A554F78D-B4F1-46E6-B96F-F2A962D60370}">
      <dgm:prSet/>
      <dgm:spPr/>
      <dgm:t>
        <a:bodyPr/>
        <a:lstStyle/>
        <a:p>
          <a:endParaRPr lang="en-US"/>
        </a:p>
      </dgm:t>
    </dgm:pt>
    <dgm:pt modelId="{754E66A9-E647-49C6-8DCA-85FE47083B62}">
      <dgm:prSet phldrT="[Text]" custT="1"/>
      <dgm:spPr/>
      <dgm:t>
        <a:bodyPr/>
        <a:lstStyle/>
        <a:p>
          <a:pPr algn="l">
            <a:lnSpc>
              <a:spcPct val="100000"/>
            </a:lnSpc>
          </a:pPr>
          <a:endParaRPr lang="en-US" sz="1600" b="0" dirty="0"/>
        </a:p>
      </dgm:t>
    </dgm:pt>
    <dgm:pt modelId="{F2D63FE9-26A5-487A-B279-8DE0454CB455}" type="parTrans" cxnId="{0A1E532F-96E5-48CA-AE17-45C249225773}">
      <dgm:prSet/>
      <dgm:spPr/>
      <dgm:t>
        <a:bodyPr/>
        <a:lstStyle/>
        <a:p>
          <a:endParaRPr lang="en-US"/>
        </a:p>
      </dgm:t>
    </dgm:pt>
    <dgm:pt modelId="{5740812C-5FE0-4071-9A6F-466D9B79AB02}" type="sibTrans" cxnId="{0A1E532F-96E5-48CA-AE17-45C249225773}">
      <dgm:prSet/>
      <dgm:spPr/>
      <dgm:t>
        <a:bodyPr/>
        <a:lstStyle/>
        <a:p>
          <a:endParaRPr lang="en-US"/>
        </a:p>
      </dgm:t>
    </dgm:pt>
    <dgm:pt modelId="{5C8B1288-5A23-4F7F-ABAC-16ACEEA410F1}">
      <dgm:prSet phldrT="[Text]" custT="1"/>
      <dgm:spPr/>
      <dgm:t>
        <a:bodyPr/>
        <a:lstStyle/>
        <a:p>
          <a:pPr algn="l">
            <a:lnSpc>
              <a:spcPct val="100000"/>
            </a:lnSpc>
          </a:pPr>
          <a:r>
            <a:rPr lang="en-US" sz="1600" b="1" dirty="0"/>
            <a:t>3. LAN (Wi-Fi)</a:t>
          </a:r>
        </a:p>
        <a:p>
          <a:pPr algn="l">
            <a:lnSpc>
              <a:spcPct val="100000"/>
            </a:lnSpc>
          </a:pPr>
          <a:endParaRPr lang="en-US" sz="1600" b="1" dirty="0"/>
        </a:p>
        <a:p>
          <a:pPr algn="l">
            <a:lnSpc>
              <a:spcPct val="100000"/>
            </a:lnSpc>
          </a:pPr>
          <a:r>
            <a:rPr lang="en-US" sz="1600" b="1" dirty="0"/>
            <a:t>4. Smart classrooms </a:t>
          </a:r>
        </a:p>
        <a:p>
          <a:pPr algn="l">
            <a:lnSpc>
              <a:spcPct val="100000"/>
            </a:lnSpc>
          </a:pPr>
          <a:endParaRPr lang="en-US" sz="1600" b="0" dirty="0"/>
        </a:p>
        <a:p>
          <a:pPr algn="l">
            <a:lnSpc>
              <a:spcPct val="100000"/>
            </a:lnSpc>
          </a:pPr>
          <a:r>
            <a:rPr lang="en-US" sz="1600" b="0" dirty="0"/>
            <a:t>5. Focus on </a:t>
          </a:r>
          <a:r>
            <a:rPr lang="en-ZA" sz="1600" b="0" dirty="0"/>
            <a:t>developing eLearning Leadership</a:t>
          </a:r>
        </a:p>
        <a:p>
          <a:pPr algn="l">
            <a:lnSpc>
              <a:spcPct val="100000"/>
            </a:lnSpc>
          </a:pPr>
          <a:endParaRPr lang="en-ZA" sz="1600" b="0" dirty="0"/>
        </a:p>
        <a:p>
          <a:pPr algn="l">
            <a:lnSpc>
              <a:spcPct val="100000"/>
            </a:lnSpc>
          </a:pPr>
          <a:r>
            <a:rPr lang="en-ZA" sz="1600" b="0" dirty="0"/>
            <a:t>6. </a:t>
          </a:r>
          <a:r>
            <a:rPr lang="en-US" sz="1600" b="0" dirty="0"/>
            <a:t>Appropriate Teacher Development translates into ICT integrated into lessons</a:t>
          </a:r>
        </a:p>
      </dgm:t>
    </dgm:pt>
    <dgm:pt modelId="{43AED8C7-F0D0-422B-900D-734624C36DF0}" type="parTrans" cxnId="{22F53D39-E701-4230-B75C-4D845354E421}">
      <dgm:prSet/>
      <dgm:spPr/>
      <dgm:t>
        <a:bodyPr/>
        <a:lstStyle/>
        <a:p>
          <a:endParaRPr lang="en-US"/>
        </a:p>
      </dgm:t>
    </dgm:pt>
    <dgm:pt modelId="{11F5814D-8E41-477E-8186-2A5746CC965F}" type="sibTrans" cxnId="{22F53D39-E701-4230-B75C-4D845354E421}">
      <dgm:prSet/>
      <dgm:spPr/>
      <dgm:t>
        <a:bodyPr/>
        <a:lstStyle/>
        <a:p>
          <a:endParaRPr lang="en-US"/>
        </a:p>
      </dgm:t>
    </dgm:pt>
    <dgm:pt modelId="{C3E9F819-5354-4C8F-B3AB-1786E91D08F1}" type="pres">
      <dgm:prSet presAssocID="{C58767C1-46E5-434B-8637-6BB62F7877E3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ZA"/>
        </a:p>
      </dgm:t>
    </dgm:pt>
    <dgm:pt modelId="{9C445AEF-9778-44CC-89CD-D2FF77316DB6}" type="pres">
      <dgm:prSet presAssocID="{EB5A5961-6372-492F-B208-10C31A10CD29}" presName="compositeNode" presStyleCnt="0">
        <dgm:presLayoutVars>
          <dgm:bulletEnabled val="1"/>
        </dgm:presLayoutVars>
      </dgm:prSet>
      <dgm:spPr/>
    </dgm:pt>
    <dgm:pt modelId="{2586FC1D-5B91-4E97-A09E-79A888E2F6BA}" type="pres">
      <dgm:prSet presAssocID="{EB5A5961-6372-492F-B208-10C31A10CD29}" presName="bgRect" presStyleLbl="node1" presStyleIdx="0" presStyleCnt="1" custScaleX="102517" custScaleY="171497" custLinFactNeighborX="-2605"/>
      <dgm:spPr/>
      <dgm:t>
        <a:bodyPr/>
        <a:lstStyle/>
        <a:p>
          <a:endParaRPr lang="en-ZA"/>
        </a:p>
      </dgm:t>
    </dgm:pt>
    <dgm:pt modelId="{0FCE12AF-5755-45F2-B18E-84FFA89BEA28}" type="pres">
      <dgm:prSet presAssocID="{EB5A5961-6372-492F-B208-10C31A10CD29}" presName="parentNode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7A09F8E5-E348-4D16-BF6F-CCA6ADBB29B2}" type="pres">
      <dgm:prSet presAssocID="{EB5A5961-6372-492F-B208-10C31A10CD29}" presName="childNode" presStyleLbl="node1" presStyleIdx="0" presStyleCnt="1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</dgm:ptLst>
  <dgm:cxnLst>
    <dgm:cxn modelId="{2B0F0CBA-FB4D-45C3-BF1F-2930B4F08AEE}" srcId="{C58767C1-46E5-434B-8637-6BB62F7877E3}" destId="{EB5A5961-6372-492F-B208-10C31A10CD29}" srcOrd="0" destOrd="0" parTransId="{A01BA4DC-A477-4DAF-B50A-9C45E2DF44B3}" sibTransId="{34ED145D-291E-4278-83DC-201629A23C47}"/>
    <dgm:cxn modelId="{69AC2EAC-8045-4732-A168-872C94D6EF26}" type="presOf" srcId="{C58767C1-46E5-434B-8637-6BB62F7877E3}" destId="{C3E9F819-5354-4C8F-B3AB-1786E91D08F1}" srcOrd="0" destOrd="0" presId="urn:microsoft.com/office/officeart/2005/8/layout/hProcess7#2"/>
    <dgm:cxn modelId="{22F53D39-E701-4230-B75C-4D845354E421}" srcId="{EB5A5961-6372-492F-B208-10C31A10CD29}" destId="{5C8B1288-5A23-4F7F-ABAC-16ACEEA410F1}" srcOrd="4" destOrd="0" parTransId="{43AED8C7-F0D0-422B-900D-734624C36DF0}" sibTransId="{11F5814D-8E41-477E-8186-2A5746CC965F}"/>
    <dgm:cxn modelId="{0A1E532F-96E5-48CA-AE17-45C249225773}" srcId="{EB5A5961-6372-492F-B208-10C31A10CD29}" destId="{754E66A9-E647-49C6-8DCA-85FE47083B62}" srcOrd="3" destOrd="0" parTransId="{F2D63FE9-26A5-487A-B279-8DE0454CB455}" sibTransId="{5740812C-5FE0-4071-9A6F-466D9B79AB02}"/>
    <dgm:cxn modelId="{BB6A730A-509B-437A-8CD9-6DCCD1057A06}" type="presOf" srcId="{EB5A5961-6372-492F-B208-10C31A10CD29}" destId="{0FCE12AF-5755-45F2-B18E-84FFA89BEA28}" srcOrd="1" destOrd="0" presId="urn:microsoft.com/office/officeart/2005/8/layout/hProcess7#2"/>
    <dgm:cxn modelId="{724DF146-421E-484B-AE31-83F1B1399610}" type="presOf" srcId="{5C8B1288-5A23-4F7F-ABAC-16ACEEA410F1}" destId="{7A09F8E5-E348-4D16-BF6F-CCA6ADBB29B2}" srcOrd="0" destOrd="4" presId="urn:microsoft.com/office/officeart/2005/8/layout/hProcess7#2"/>
    <dgm:cxn modelId="{C207FAD8-0D99-42E0-A508-A919C14980F3}" type="presOf" srcId="{220A50A5-56E9-4953-BFC1-7DAEA839E424}" destId="{7A09F8E5-E348-4D16-BF6F-CCA6ADBB29B2}" srcOrd="0" destOrd="1" presId="urn:microsoft.com/office/officeart/2005/8/layout/hProcess7#2"/>
    <dgm:cxn modelId="{647D8920-AE37-4DA2-BD49-3235BD1CAE17}" type="presOf" srcId="{1549BF2C-F491-44BA-8225-F3FC47562E80}" destId="{7A09F8E5-E348-4D16-BF6F-CCA6ADBB29B2}" srcOrd="0" destOrd="0" presId="urn:microsoft.com/office/officeart/2005/8/layout/hProcess7#2"/>
    <dgm:cxn modelId="{2AC0FAF2-ACF6-444A-83FF-8E81604C95CF}" type="presOf" srcId="{754E66A9-E647-49C6-8DCA-85FE47083B62}" destId="{7A09F8E5-E348-4D16-BF6F-CCA6ADBB29B2}" srcOrd="0" destOrd="3" presId="urn:microsoft.com/office/officeart/2005/8/layout/hProcess7#2"/>
    <dgm:cxn modelId="{6666BD39-F20B-495B-BC61-B97601366ADF}" type="presOf" srcId="{EB5A5961-6372-492F-B208-10C31A10CD29}" destId="{2586FC1D-5B91-4E97-A09E-79A888E2F6BA}" srcOrd="0" destOrd="0" presId="urn:microsoft.com/office/officeart/2005/8/layout/hProcess7#2"/>
    <dgm:cxn modelId="{89FCC8BE-4702-4916-9E06-5674972653C3}" srcId="{EB5A5961-6372-492F-B208-10C31A10CD29}" destId="{1549BF2C-F491-44BA-8225-F3FC47562E80}" srcOrd="0" destOrd="0" parTransId="{567317FF-B075-45A6-9402-4A2F4352B114}" sibTransId="{AA516A79-44E4-4CA9-A5BD-8FE1D722EB7E}"/>
    <dgm:cxn modelId="{964CA57E-49E1-4C51-8E73-6561C9298DE3}" type="presOf" srcId="{0D7DEE4B-ED0F-4A18-A728-B0C8857BD2F6}" destId="{7A09F8E5-E348-4D16-BF6F-CCA6ADBB29B2}" srcOrd="0" destOrd="2" presId="urn:microsoft.com/office/officeart/2005/8/layout/hProcess7#2"/>
    <dgm:cxn modelId="{6E682DA4-023C-4264-A768-F3D78A97074D}" srcId="{EB5A5961-6372-492F-B208-10C31A10CD29}" destId="{220A50A5-56E9-4953-BFC1-7DAEA839E424}" srcOrd="1" destOrd="0" parTransId="{542ECF4F-19CE-4E6A-A23D-3072AE1C3DA8}" sibTransId="{CC81967F-E459-4002-AF84-0880C25F06BA}"/>
    <dgm:cxn modelId="{A554F78D-B4F1-46E6-B96F-F2A962D60370}" srcId="{EB5A5961-6372-492F-B208-10C31A10CD29}" destId="{0D7DEE4B-ED0F-4A18-A728-B0C8857BD2F6}" srcOrd="2" destOrd="0" parTransId="{5C0AAD71-8B6B-437D-BDB8-42672564106E}" sibTransId="{03A7C9D4-7B58-405A-93C3-4C6A8D86AEEC}"/>
    <dgm:cxn modelId="{5A8D09C8-F17E-40EB-A333-57A86F674D6E}" type="presParOf" srcId="{C3E9F819-5354-4C8F-B3AB-1786E91D08F1}" destId="{9C445AEF-9778-44CC-89CD-D2FF77316DB6}" srcOrd="0" destOrd="0" presId="urn:microsoft.com/office/officeart/2005/8/layout/hProcess7#2"/>
    <dgm:cxn modelId="{85AF123C-4D50-419E-B6E9-616A561BDF23}" type="presParOf" srcId="{9C445AEF-9778-44CC-89CD-D2FF77316DB6}" destId="{2586FC1D-5B91-4E97-A09E-79A888E2F6BA}" srcOrd="0" destOrd="0" presId="urn:microsoft.com/office/officeart/2005/8/layout/hProcess7#2"/>
    <dgm:cxn modelId="{4F88181B-F093-4C5C-A0AC-E4F6D3B2D927}" type="presParOf" srcId="{9C445AEF-9778-44CC-89CD-D2FF77316DB6}" destId="{0FCE12AF-5755-45F2-B18E-84FFA89BEA28}" srcOrd="1" destOrd="0" presId="urn:microsoft.com/office/officeart/2005/8/layout/hProcess7#2"/>
    <dgm:cxn modelId="{7AB5ABA0-B71D-4566-AFFD-AA58C6E8DE4C}" type="presParOf" srcId="{9C445AEF-9778-44CC-89CD-D2FF77316DB6}" destId="{7A09F8E5-E348-4D16-BF6F-CCA6ADBB29B2}" srcOrd="2" destOrd="0" presId="urn:microsoft.com/office/officeart/2005/8/layout/hProcess7#2"/>
  </dgm:cxnLst>
  <dgm:bg/>
  <dgm:whole/>
  <dgm:extLst>
    <a:ext uri="http://schemas.microsoft.com/office/drawing/2008/diagram">
      <dsp:dataModelExt xmlns:dsp="http://schemas.microsoft.com/office/drawing/2008/diagram" xmlns="" relId="rId12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C58767C1-46E5-434B-8637-6BB62F7877E3}" type="doc">
      <dgm:prSet loTypeId="urn:microsoft.com/office/officeart/2005/8/layout/hProcess7#3" loCatId="process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en-ZA"/>
        </a:p>
      </dgm:t>
    </dgm:pt>
    <dgm:pt modelId="{CF948A5B-859A-4E6D-BD30-A838018B4910}">
      <dgm:prSet phldrT="[Text]" custT="1"/>
      <dgm:spPr>
        <a:solidFill>
          <a:schemeClr val="accent6">
            <a:lumMod val="75000"/>
          </a:schemeClr>
        </a:solidFill>
      </dgm:spPr>
      <dgm:t>
        <a:bodyPr/>
        <a:lstStyle/>
        <a:p>
          <a:pPr>
            <a:lnSpc>
              <a:spcPct val="100000"/>
            </a:lnSpc>
          </a:pPr>
          <a:r>
            <a:rPr lang="en-ZA" sz="2400" b="1" dirty="0"/>
            <a:t>X number of Schools</a:t>
          </a:r>
        </a:p>
      </dgm:t>
    </dgm:pt>
    <dgm:pt modelId="{4ED0BB8E-9D3A-4A54-A50B-DDC08CFEE97C}" type="parTrans" cxnId="{18D0464C-7108-4746-9297-B85932EC9D0B}">
      <dgm:prSet/>
      <dgm:spPr/>
      <dgm:t>
        <a:bodyPr/>
        <a:lstStyle/>
        <a:p>
          <a:endParaRPr lang="en-ZA"/>
        </a:p>
      </dgm:t>
    </dgm:pt>
    <dgm:pt modelId="{052E3181-BB13-4064-AB98-13A080F97400}" type="sibTrans" cxnId="{18D0464C-7108-4746-9297-B85932EC9D0B}">
      <dgm:prSet/>
      <dgm:spPr/>
      <dgm:t>
        <a:bodyPr/>
        <a:lstStyle/>
        <a:p>
          <a:endParaRPr lang="en-ZA"/>
        </a:p>
      </dgm:t>
    </dgm:pt>
    <dgm:pt modelId="{DF774C1A-EF13-4586-9E2C-918CF3B0C866}">
      <dgm:prSet phldrT="[Text]" custT="1"/>
      <dgm:spPr/>
      <dgm:t>
        <a:bodyPr/>
        <a:lstStyle/>
        <a:p>
          <a:pPr algn="ctr">
            <a:lnSpc>
              <a:spcPct val="100000"/>
            </a:lnSpc>
          </a:pPr>
          <a:r>
            <a:rPr lang="en-ZA" sz="2400" b="1" dirty="0"/>
            <a:t>UNIVERSAL</a:t>
          </a:r>
        </a:p>
      </dgm:t>
    </dgm:pt>
    <dgm:pt modelId="{9BE2ECAC-5377-4CCC-AEBB-29FF0EB80D0F}" type="parTrans" cxnId="{B4460500-2249-49C4-957F-805ED0A27310}">
      <dgm:prSet/>
      <dgm:spPr/>
      <dgm:t>
        <a:bodyPr/>
        <a:lstStyle/>
        <a:p>
          <a:endParaRPr lang="en-ZA"/>
        </a:p>
      </dgm:t>
    </dgm:pt>
    <dgm:pt modelId="{0BA1D642-6D50-44F3-9A6B-6E98D531CED8}" type="sibTrans" cxnId="{B4460500-2249-49C4-957F-805ED0A27310}">
      <dgm:prSet/>
      <dgm:spPr/>
      <dgm:t>
        <a:bodyPr/>
        <a:lstStyle/>
        <a:p>
          <a:endParaRPr lang="en-ZA"/>
        </a:p>
      </dgm:t>
    </dgm:pt>
    <dgm:pt modelId="{1E70ED51-472D-4094-BB5B-8F0CB60E5A09}">
      <dgm:prSet custT="1"/>
      <dgm:spPr/>
      <dgm:t>
        <a:bodyPr/>
        <a:lstStyle/>
        <a:p>
          <a:pPr algn="l">
            <a:lnSpc>
              <a:spcPct val="100000"/>
            </a:lnSpc>
          </a:pPr>
          <a:r>
            <a:rPr lang="en-US" sz="1300" b="0" dirty="0"/>
            <a:t>1</a:t>
          </a:r>
          <a:r>
            <a:rPr lang="en-US" sz="1600" b="0" dirty="0"/>
            <a:t>. </a:t>
          </a:r>
          <a:r>
            <a:rPr lang="en-US" sz="1600" b="1" dirty="0"/>
            <a:t>WAN</a:t>
          </a:r>
          <a:r>
            <a:rPr lang="en-US" sz="1600" b="0" dirty="0"/>
            <a:t> </a:t>
          </a:r>
        </a:p>
        <a:p>
          <a:pPr algn="l">
            <a:lnSpc>
              <a:spcPct val="100000"/>
            </a:lnSpc>
          </a:pPr>
          <a:endParaRPr lang="en-US" sz="1000" b="0" dirty="0"/>
        </a:p>
        <a:p>
          <a:pPr algn="l">
            <a:lnSpc>
              <a:spcPct val="100000"/>
            </a:lnSpc>
          </a:pPr>
          <a:r>
            <a:rPr lang="en-US" sz="1600" b="0" dirty="0"/>
            <a:t>2. </a:t>
          </a:r>
          <a:r>
            <a:rPr lang="en-US" sz="1600" b="1" dirty="0"/>
            <a:t>SLIM LABs</a:t>
          </a:r>
        </a:p>
        <a:p>
          <a:pPr algn="l">
            <a:lnSpc>
              <a:spcPct val="100000"/>
            </a:lnSpc>
          </a:pPr>
          <a:endParaRPr lang="en-US" sz="1000" b="1" dirty="0"/>
        </a:p>
        <a:p>
          <a:pPr algn="l">
            <a:lnSpc>
              <a:spcPct val="100000"/>
            </a:lnSpc>
          </a:pPr>
          <a:r>
            <a:rPr lang="en-US" sz="1600" b="0" dirty="0"/>
            <a:t>3. </a:t>
          </a:r>
          <a:r>
            <a:rPr lang="en-US" sz="1600" b="1" dirty="0"/>
            <a:t>Access Point for </a:t>
          </a:r>
          <a:r>
            <a:rPr lang="en-US" sz="1600" b="1" dirty="0" err="1"/>
            <a:t>wi-fi</a:t>
          </a:r>
          <a:r>
            <a:rPr lang="en-US" sz="1600" b="1" dirty="0"/>
            <a:t> connectivity for teachers</a:t>
          </a:r>
          <a:endParaRPr lang="en-US" sz="1600" b="0" dirty="0"/>
        </a:p>
        <a:p>
          <a:pPr algn="l">
            <a:lnSpc>
              <a:spcPct val="100000"/>
            </a:lnSpc>
          </a:pPr>
          <a:endParaRPr lang="en-US" sz="1000" b="0" dirty="0"/>
        </a:p>
        <a:p>
          <a:pPr algn="l">
            <a:lnSpc>
              <a:spcPct val="100000"/>
            </a:lnSpc>
          </a:pPr>
          <a:r>
            <a:rPr lang="en-US" sz="1600" b="0" dirty="0"/>
            <a:t>4.  Other benefactor projects </a:t>
          </a:r>
          <a:r>
            <a:rPr lang="en-US" sz="1600" b="0" dirty="0" err="1"/>
            <a:t>e.g</a:t>
          </a:r>
          <a:r>
            <a:rPr lang="en-US" sz="1600" b="0" dirty="0"/>
            <a:t> USO technology</a:t>
          </a:r>
        </a:p>
        <a:p>
          <a:pPr algn="l">
            <a:lnSpc>
              <a:spcPct val="100000"/>
            </a:lnSpc>
          </a:pPr>
          <a:endParaRPr lang="en-US" sz="1000" b="0" dirty="0"/>
        </a:p>
      </dgm:t>
    </dgm:pt>
    <dgm:pt modelId="{7A2AF75D-8188-4BBD-9914-1530F1E07B2A}" type="parTrans" cxnId="{DF8EEE79-59E2-4FB5-8B3E-54C019FBC195}">
      <dgm:prSet/>
      <dgm:spPr/>
      <dgm:t>
        <a:bodyPr/>
        <a:lstStyle/>
        <a:p>
          <a:endParaRPr lang="en-ZA"/>
        </a:p>
      </dgm:t>
    </dgm:pt>
    <dgm:pt modelId="{901201AE-A4E1-4234-A9B7-381B81A3451D}" type="sibTrans" cxnId="{DF8EEE79-59E2-4FB5-8B3E-54C019FBC195}">
      <dgm:prSet/>
      <dgm:spPr/>
      <dgm:t>
        <a:bodyPr/>
        <a:lstStyle/>
        <a:p>
          <a:endParaRPr lang="en-ZA"/>
        </a:p>
      </dgm:t>
    </dgm:pt>
    <dgm:pt modelId="{61387957-FE8D-4B3F-B63D-71C86CA5FBD6}">
      <dgm:prSet custT="1"/>
      <dgm:spPr/>
      <dgm:t>
        <a:bodyPr/>
        <a:lstStyle/>
        <a:p>
          <a:pPr algn="l">
            <a:lnSpc>
              <a:spcPct val="100000"/>
            </a:lnSpc>
          </a:pPr>
          <a:r>
            <a:rPr lang="en-US" sz="1600" b="0" dirty="0"/>
            <a:t>6. Appropriate Teacher Development Pathway</a:t>
          </a:r>
          <a:endParaRPr lang="en-ZA" sz="1600" b="0" dirty="0"/>
        </a:p>
      </dgm:t>
    </dgm:pt>
    <dgm:pt modelId="{D5EC2C54-D3EC-40A6-9992-DDD09DBC51C2}" type="parTrans" cxnId="{80290BD0-A788-42F1-9560-33DD800A5A1B}">
      <dgm:prSet/>
      <dgm:spPr/>
      <dgm:t>
        <a:bodyPr/>
        <a:lstStyle/>
        <a:p>
          <a:endParaRPr lang="en-ZA"/>
        </a:p>
      </dgm:t>
    </dgm:pt>
    <dgm:pt modelId="{FEBC947B-2F6C-4AA5-BA65-83D4CF350D5B}" type="sibTrans" cxnId="{80290BD0-A788-42F1-9560-33DD800A5A1B}">
      <dgm:prSet/>
      <dgm:spPr/>
      <dgm:t>
        <a:bodyPr/>
        <a:lstStyle/>
        <a:p>
          <a:endParaRPr lang="en-ZA"/>
        </a:p>
      </dgm:t>
    </dgm:pt>
    <dgm:pt modelId="{1FAEC4A9-CF24-4275-BE8C-A0700D6F214B}">
      <dgm:prSet custT="1"/>
      <dgm:spPr/>
      <dgm:t>
        <a:bodyPr/>
        <a:lstStyle/>
        <a:p>
          <a:pPr algn="l">
            <a:lnSpc>
              <a:spcPct val="100000"/>
            </a:lnSpc>
          </a:pPr>
          <a:r>
            <a:rPr lang="en-US" sz="1600" b="0" dirty="0"/>
            <a:t>5. Focus on </a:t>
          </a:r>
          <a:r>
            <a:rPr lang="en-ZA" sz="1600" b="0" dirty="0"/>
            <a:t>developing eLearning Leadership</a:t>
          </a:r>
        </a:p>
        <a:p>
          <a:pPr algn="l">
            <a:lnSpc>
              <a:spcPct val="100000"/>
            </a:lnSpc>
          </a:pPr>
          <a:endParaRPr lang="en-ZA" sz="1000" b="0" dirty="0"/>
        </a:p>
      </dgm:t>
    </dgm:pt>
    <dgm:pt modelId="{AEB71DED-B9FC-48E6-A1F3-25D6DD73D3DC}" type="parTrans" cxnId="{038A1CD3-9963-43E4-A677-BD9D46BD931C}">
      <dgm:prSet/>
      <dgm:spPr/>
      <dgm:t>
        <a:bodyPr/>
        <a:lstStyle/>
        <a:p>
          <a:endParaRPr lang="en-ZA"/>
        </a:p>
      </dgm:t>
    </dgm:pt>
    <dgm:pt modelId="{3C156CCD-5D48-446F-993C-E3137180DB97}" type="sibTrans" cxnId="{038A1CD3-9963-43E4-A677-BD9D46BD931C}">
      <dgm:prSet/>
      <dgm:spPr/>
      <dgm:t>
        <a:bodyPr/>
        <a:lstStyle/>
        <a:p>
          <a:endParaRPr lang="en-ZA"/>
        </a:p>
      </dgm:t>
    </dgm:pt>
    <dgm:pt modelId="{C3E9F819-5354-4C8F-B3AB-1786E91D08F1}" type="pres">
      <dgm:prSet presAssocID="{C58767C1-46E5-434B-8637-6BB62F7877E3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ZA"/>
        </a:p>
      </dgm:t>
    </dgm:pt>
    <dgm:pt modelId="{B9720114-67F8-4192-8845-52FF13A336CE}" type="pres">
      <dgm:prSet presAssocID="{CF948A5B-859A-4E6D-BD30-A838018B4910}" presName="compositeNode" presStyleCnt="0">
        <dgm:presLayoutVars>
          <dgm:bulletEnabled val="1"/>
        </dgm:presLayoutVars>
      </dgm:prSet>
      <dgm:spPr/>
    </dgm:pt>
    <dgm:pt modelId="{5CB4B11A-594A-4FDA-B9C1-1736765BB695}" type="pres">
      <dgm:prSet presAssocID="{CF948A5B-859A-4E6D-BD30-A838018B4910}" presName="bgRect" presStyleLbl="node1" presStyleIdx="0" presStyleCnt="1" custScaleY="168735" custLinFactNeighborX="-1085"/>
      <dgm:spPr/>
      <dgm:t>
        <a:bodyPr/>
        <a:lstStyle/>
        <a:p>
          <a:endParaRPr lang="en-ZA"/>
        </a:p>
      </dgm:t>
    </dgm:pt>
    <dgm:pt modelId="{1DAE0601-9823-4C37-BE80-BC86DC42BB48}" type="pres">
      <dgm:prSet presAssocID="{CF948A5B-859A-4E6D-BD30-A838018B4910}" presName="parentNode" presStyleLbl="node1" presStyleIdx="0" presStyleCnt="1">
        <dgm:presLayoutVars>
          <dgm:chMax val="0"/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0CB65F03-3D9A-4491-A129-8EA2112FF5DC}" type="pres">
      <dgm:prSet presAssocID="{CF948A5B-859A-4E6D-BD30-A838018B4910}" presName="childNode" presStyleLbl="node1" presStyleIdx="0" presStyleCnt="1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</dgm:ptLst>
  <dgm:cxnLst>
    <dgm:cxn modelId="{18D0464C-7108-4746-9297-B85932EC9D0B}" srcId="{C58767C1-46E5-434B-8637-6BB62F7877E3}" destId="{CF948A5B-859A-4E6D-BD30-A838018B4910}" srcOrd="0" destOrd="0" parTransId="{4ED0BB8E-9D3A-4A54-A50B-DDC08CFEE97C}" sibTransId="{052E3181-BB13-4064-AB98-13A080F97400}"/>
    <dgm:cxn modelId="{2F7E2FC3-8007-41F5-818E-F3A76B19ABE9}" type="presOf" srcId="{1FAEC4A9-CF24-4275-BE8C-A0700D6F214B}" destId="{0CB65F03-3D9A-4491-A129-8EA2112FF5DC}" srcOrd="0" destOrd="2" presId="urn:microsoft.com/office/officeart/2005/8/layout/hProcess7#3"/>
    <dgm:cxn modelId="{CD67ABFA-4E38-4D35-83B9-8B7C01DDCD3A}" type="presOf" srcId="{C58767C1-46E5-434B-8637-6BB62F7877E3}" destId="{C3E9F819-5354-4C8F-B3AB-1786E91D08F1}" srcOrd="0" destOrd="0" presId="urn:microsoft.com/office/officeart/2005/8/layout/hProcess7#3"/>
    <dgm:cxn modelId="{F3910FEB-ABFB-4951-93B2-1C9764BDF068}" type="presOf" srcId="{CF948A5B-859A-4E6D-BD30-A838018B4910}" destId="{5CB4B11A-594A-4FDA-B9C1-1736765BB695}" srcOrd="0" destOrd="0" presId="urn:microsoft.com/office/officeart/2005/8/layout/hProcess7#3"/>
    <dgm:cxn modelId="{038A1CD3-9963-43E4-A677-BD9D46BD931C}" srcId="{CF948A5B-859A-4E6D-BD30-A838018B4910}" destId="{1FAEC4A9-CF24-4275-BE8C-A0700D6F214B}" srcOrd="2" destOrd="0" parTransId="{AEB71DED-B9FC-48E6-A1F3-25D6DD73D3DC}" sibTransId="{3C156CCD-5D48-446F-993C-E3137180DB97}"/>
    <dgm:cxn modelId="{B4460500-2249-49C4-957F-805ED0A27310}" srcId="{CF948A5B-859A-4E6D-BD30-A838018B4910}" destId="{DF774C1A-EF13-4586-9E2C-918CF3B0C866}" srcOrd="0" destOrd="0" parTransId="{9BE2ECAC-5377-4CCC-AEBB-29FF0EB80D0F}" sibTransId="{0BA1D642-6D50-44F3-9A6B-6E98D531CED8}"/>
    <dgm:cxn modelId="{AC8424D4-7F22-43E9-994A-40F8E64D6469}" type="presOf" srcId="{1E70ED51-472D-4094-BB5B-8F0CB60E5A09}" destId="{0CB65F03-3D9A-4491-A129-8EA2112FF5DC}" srcOrd="0" destOrd="1" presId="urn:microsoft.com/office/officeart/2005/8/layout/hProcess7#3"/>
    <dgm:cxn modelId="{DF8EEE79-59E2-4FB5-8B3E-54C019FBC195}" srcId="{CF948A5B-859A-4E6D-BD30-A838018B4910}" destId="{1E70ED51-472D-4094-BB5B-8F0CB60E5A09}" srcOrd="1" destOrd="0" parTransId="{7A2AF75D-8188-4BBD-9914-1530F1E07B2A}" sibTransId="{901201AE-A4E1-4234-A9B7-381B81A3451D}"/>
    <dgm:cxn modelId="{75DFCF76-DDCD-4A13-B9CC-D709C05AB51F}" type="presOf" srcId="{61387957-FE8D-4B3F-B63D-71C86CA5FBD6}" destId="{0CB65F03-3D9A-4491-A129-8EA2112FF5DC}" srcOrd="0" destOrd="3" presId="urn:microsoft.com/office/officeart/2005/8/layout/hProcess7#3"/>
    <dgm:cxn modelId="{D6AE6F16-8F6A-49DC-9939-60A40A58ECA8}" type="presOf" srcId="{CF948A5B-859A-4E6D-BD30-A838018B4910}" destId="{1DAE0601-9823-4C37-BE80-BC86DC42BB48}" srcOrd="1" destOrd="0" presId="urn:microsoft.com/office/officeart/2005/8/layout/hProcess7#3"/>
    <dgm:cxn modelId="{80290BD0-A788-42F1-9560-33DD800A5A1B}" srcId="{CF948A5B-859A-4E6D-BD30-A838018B4910}" destId="{61387957-FE8D-4B3F-B63D-71C86CA5FBD6}" srcOrd="3" destOrd="0" parTransId="{D5EC2C54-D3EC-40A6-9992-DDD09DBC51C2}" sibTransId="{FEBC947B-2F6C-4AA5-BA65-83D4CF350D5B}"/>
    <dgm:cxn modelId="{02D09FAC-DAF8-4F44-A64C-4C0069363AE5}" type="presOf" srcId="{DF774C1A-EF13-4586-9E2C-918CF3B0C866}" destId="{0CB65F03-3D9A-4491-A129-8EA2112FF5DC}" srcOrd="0" destOrd="0" presId="urn:microsoft.com/office/officeart/2005/8/layout/hProcess7#3"/>
    <dgm:cxn modelId="{2563CE90-5D96-46B9-873F-317401687C70}" type="presParOf" srcId="{C3E9F819-5354-4C8F-B3AB-1786E91D08F1}" destId="{B9720114-67F8-4192-8845-52FF13A336CE}" srcOrd="0" destOrd="0" presId="urn:microsoft.com/office/officeart/2005/8/layout/hProcess7#3"/>
    <dgm:cxn modelId="{07C01C34-8561-4F05-BB48-E7DF76117EE3}" type="presParOf" srcId="{B9720114-67F8-4192-8845-52FF13A336CE}" destId="{5CB4B11A-594A-4FDA-B9C1-1736765BB695}" srcOrd="0" destOrd="0" presId="urn:microsoft.com/office/officeart/2005/8/layout/hProcess7#3"/>
    <dgm:cxn modelId="{41A4D17B-406F-4C9A-BFEE-1A47CC670112}" type="presParOf" srcId="{B9720114-67F8-4192-8845-52FF13A336CE}" destId="{1DAE0601-9823-4C37-BE80-BC86DC42BB48}" srcOrd="1" destOrd="0" presId="urn:microsoft.com/office/officeart/2005/8/layout/hProcess7#3"/>
    <dgm:cxn modelId="{DB8FD953-545E-4607-86AD-85431D1D86E0}" type="presParOf" srcId="{B9720114-67F8-4192-8845-52FF13A336CE}" destId="{0CB65F03-3D9A-4491-A129-8EA2112FF5DC}" srcOrd="2" destOrd="0" presId="urn:microsoft.com/office/officeart/2005/8/layout/hProcess7#3"/>
  </dgm:cxnLst>
  <dgm:bg/>
  <dgm:whole/>
  <dgm:extLst>
    <a:ext uri="http://schemas.microsoft.com/office/drawing/2008/diagram">
      <dsp:dataModelExt xmlns:dsp="http://schemas.microsoft.com/office/drawing/2008/diagram" xmlns="" relId="rId1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EAC1D980-8096-46F4-A81E-3BDFAB0E92CF}">
      <dsp:nvSpPr>
        <dsp:cNvPr id="0" name=""/>
        <dsp:cNvSpPr/>
      </dsp:nvSpPr>
      <dsp:spPr>
        <a:xfrm>
          <a:off x="0" y="-6"/>
          <a:ext cx="3093538" cy="6117780"/>
        </a:xfrm>
        <a:prstGeom prst="roundRect">
          <a:avLst>
            <a:gd name="adj" fmla="val 5000"/>
          </a:avLst>
        </a:prstGeom>
        <a:solidFill>
          <a:srgbClr val="C00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82296" rIns="106680" bIns="0" numCol="1" spcCol="1270" anchor="t" anchorCtr="0">
          <a:noAutofit/>
        </a:bodyPr>
        <a:lstStyle/>
        <a:p>
          <a:pPr lvl="0" algn="r" defTabSz="10668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n-ZA" sz="2400" b="1" kern="1200" dirty="0"/>
            <a:t>X Number Schools</a:t>
          </a:r>
          <a:endParaRPr lang="en-ZA" sz="1300" b="0" kern="1200" dirty="0"/>
        </a:p>
      </dsp:txBody>
      <dsp:txXfrm rot="16200000">
        <a:off x="-2198936" y="2198929"/>
        <a:ext cx="5016580" cy="618707"/>
      </dsp:txXfrm>
    </dsp:sp>
    <dsp:sp modelId="{F3BD5E7A-62E5-4C02-AECB-954AA50F8D93}">
      <dsp:nvSpPr>
        <dsp:cNvPr id="0" name=""/>
        <dsp:cNvSpPr/>
      </dsp:nvSpPr>
      <dsp:spPr>
        <a:xfrm>
          <a:off x="618707" y="-6"/>
          <a:ext cx="2304685" cy="6117780"/>
        </a:xfrm>
        <a:prstGeom prst="rect">
          <a:avLst/>
        </a:prstGeom>
        <a:noFill/>
        <a:ln w="25400" cap="flat" cmpd="sng" algn="ctr">
          <a:noFill/>
          <a:prstDash val="solid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82296" rIns="0" bIns="0" numCol="1" spcCol="1270" anchor="t" anchorCtr="0">
          <a:noAutofit/>
        </a:bodyPr>
        <a:lstStyle/>
        <a:p>
          <a:pPr lvl="0" algn="ctr" defTabSz="10668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n-ZA" sz="2400" b="1" kern="1200" dirty="0"/>
            <a:t>MODEL</a:t>
          </a:r>
        </a:p>
        <a:p>
          <a:pPr lvl="0" algn="l" defTabSz="10668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n-US" sz="1600" b="0" kern="1200" dirty="0"/>
            <a:t>1. WAN </a:t>
          </a:r>
          <a:endParaRPr lang="en-ZA" sz="1600" b="0" kern="1200" dirty="0"/>
        </a:p>
        <a:p>
          <a:pPr lvl="0" algn="l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600" b="0" kern="1200" dirty="0"/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0" kern="1200" dirty="0"/>
            <a:t>2. SLIM LABs</a:t>
          </a:r>
        </a:p>
        <a:p>
          <a:pPr lvl="0" algn="l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600" b="0" kern="1200" dirty="0"/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0" kern="1200" dirty="0"/>
            <a:t>3. LAN (Wi-Fi)</a:t>
          </a:r>
        </a:p>
        <a:p>
          <a:pPr lvl="0" algn="l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600" b="0" kern="1200" dirty="0"/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0" kern="1200" dirty="0"/>
            <a:t>4. Smart classrooms </a:t>
          </a: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0" kern="1200" dirty="0"/>
            <a:t>    100%</a:t>
          </a: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700" b="0" kern="1200" dirty="0"/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/>
            <a:t>5. Learner devices</a:t>
          </a:r>
        </a:p>
        <a:p>
          <a:pPr lvl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600" b="0" kern="1200" dirty="0"/>
        </a:p>
        <a:p>
          <a:pPr lvl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n-ZA" sz="1600" b="0" kern="1200" dirty="0"/>
            <a:t>6. Excellent Leadership and innovation in place</a:t>
          </a:r>
        </a:p>
        <a:p>
          <a:pPr lvl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endParaRPr lang="en-ZA" sz="600" b="0" kern="1200" dirty="0"/>
        </a:p>
        <a:p>
          <a:pPr lvl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n-ZA" sz="1600" b="0" kern="1200" dirty="0"/>
            <a:t>7. Must serve as a example/ inspiration to other schools.</a:t>
          </a:r>
        </a:p>
        <a:p>
          <a:pPr lvl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endParaRPr lang="en-US" sz="600" b="0" kern="1200" dirty="0"/>
        </a:p>
        <a:p>
          <a:pPr lvl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n-US" sz="1600" b="0" kern="1200" dirty="0"/>
            <a:t>8. Appropriate Teacher Development  translates into ICT integrated into lessons</a:t>
          </a:r>
          <a:endParaRPr lang="en-ZA" sz="1600" b="0" kern="1200" dirty="0"/>
        </a:p>
      </dsp:txBody>
      <dsp:txXfrm>
        <a:off x="618707" y="-6"/>
        <a:ext cx="2304685" cy="6117780"/>
      </dsp:txXfrm>
    </dsp:sp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2586FC1D-5B91-4E97-A09E-79A888E2F6BA}">
      <dsp:nvSpPr>
        <dsp:cNvPr id="0" name=""/>
        <dsp:cNvSpPr/>
      </dsp:nvSpPr>
      <dsp:spPr>
        <a:xfrm>
          <a:off x="0" y="-180620"/>
          <a:ext cx="3049964" cy="6122611"/>
        </a:xfrm>
        <a:prstGeom prst="roundRect">
          <a:avLst>
            <a:gd name="adj" fmla="val 5000"/>
          </a:avLst>
        </a:prstGeom>
        <a:solidFill>
          <a:schemeClr val="accent5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82296" rIns="106680" bIns="0" numCol="1" spcCol="1270" anchor="t" anchorCtr="0">
          <a:noAutofit/>
        </a:bodyPr>
        <a:lstStyle/>
        <a:p>
          <a:pPr lvl="0" algn="r" defTabSz="10668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n-ZA" sz="2400" b="1" kern="1200" dirty="0"/>
            <a:t>X number of Schools</a:t>
          </a:r>
        </a:p>
      </dsp:txBody>
      <dsp:txXfrm rot="16200000">
        <a:off x="-2205274" y="2024654"/>
        <a:ext cx="5020541" cy="609992"/>
      </dsp:txXfrm>
    </dsp:sp>
    <dsp:sp modelId="{7A09F8E5-E348-4D16-BF6F-CCA6ADBB29B2}">
      <dsp:nvSpPr>
        <dsp:cNvPr id="0" name=""/>
        <dsp:cNvSpPr/>
      </dsp:nvSpPr>
      <dsp:spPr>
        <a:xfrm>
          <a:off x="604563" y="-180620"/>
          <a:ext cx="2272223" cy="6122611"/>
        </a:xfrm>
        <a:prstGeom prst="rect">
          <a:avLst/>
        </a:prstGeom>
        <a:noFill/>
        <a:ln w="25400" cap="flat" cmpd="sng" algn="ctr">
          <a:noFill/>
          <a:prstDash val="solid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82296" rIns="0" bIns="0" numCol="1" spcCol="1270" anchor="t" anchorCtr="0">
          <a:noAutofit/>
        </a:bodyPr>
        <a:lstStyle/>
        <a:p>
          <a:pPr lvl="0" algn="ctr" defTabSz="10668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n-ZA" sz="2400" b="1" kern="1200" dirty="0"/>
            <a:t>ENHANCED</a:t>
          </a:r>
        </a:p>
        <a:p>
          <a:pPr lvl="0" algn="l" defTabSz="10668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n-US" sz="1600" b="0" kern="1200" dirty="0"/>
            <a:t>1. WAN </a:t>
          </a:r>
          <a:endParaRPr lang="en-ZA" sz="1600" b="0" kern="1200" dirty="0"/>
        </a:p>
        <a:p>
          <a:pPr lvl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endParaRPr lang="en-US" sz="1600" b="0" kern="1200" dirty="0"/>
        </a:p>
        <a:p>
          <a:pPr lvl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n-US" sz="1600" b="0" kern="1200" dirty="0"/>
            <a:t>2. SLIM LABs</a:t>
          </a:r>
        </a:p>
        <a:p>
          <a:pPr lvl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endParaRPr lang="en-US" sz="1600" b="0" kern="1200" dirty="0"/>
        </a:p>
        <a:p>
          <a:pPr lvl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/>
            <a:t>3. LAN (Wi-Fi)</a:t>
          </a:r>
        </a:p>
        <a:p>
          <a:pPr lvl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endParaRPr lang="en-US" sz="1600" b="1" kern="1200" dirty="0"/>
        </a:p>
        <a:p>
          <a:pPr lvl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n-US" sz="1600" b="1" kern="1200" dirty="0"/>
            <a:t>4. Smart classrooms </a:t>
          </a:r>
        </a:p>
        <a:p>
          <a:pPr lvl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endParaRPr lang="en-US" sz="1600" b="0" kern="1200" dirty="0"/>
        </a:p>
        <a:p>
          <a:pPr lvl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n-US" sz="1600" b="0" kern="1200" dirty="0"/>
            <a:t>5. Focus on </a:t>
          </a:r>
          <a:r>
            <a:rPr lang="en-ZA" sz="1600" b="0" kern="1200" dirty="0"/>
            <a:t>developing eLearning Leadership</a:t>
          </a:r>
        </a:p>
        <a:p>
          <a:pPr lvl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endParaRPr lang="en-ZA" sz="1600" b="0" kern="1200" dirty="0"/>
        </a:p>
        <a:p>
          <a:pPr lvl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n-ZA" sz="1600" b="0" kern="1200" dirty="0"/>
            <a:t>6. </a:t>
          </a:r>
          <a:r>
            <a:rPr lang="en-US" sz="1600" b="0" kern="1200" dirty="0"/>
            <a:t>Appropriate Teacher Development translates into ICT integrated into lessons</a:t>
          </a:r>
        </a:p>
      </dsp:txBody>
      <dsp:txXfrm>
        <a:off x="604563" y="-180620"/>
        <a:ext cx="2272223" cy="6122611"/>
      </dsp:txXfrm>
    </dsp:sp>
  </dsp:spTree>
</dsp:drawing>
</file>

<file path=ppt/diagrams/drawing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5CB4B11A-594A-4FDA-B9C1-1736765BB695}">
      <dsp:nvSpPr>
        <dsp:cNvPr id="0" name=""/>
        <dsp:cNvSpPr/>
      </dsp:nvSpPr>
      <dsp:spPr>
        <a:xfrm>
          <a:off x="0" y="6"/>
          <a:ext cx="3021382" cy="6117755"/>
        </a:xfrm>
        <a:prstGeom prst="roundRect">
          <a:avLst>
            <a:gd name="adj" fmla="val 5000"/>
          </a:avLst>
        </a:prstGeom>
        <a:solidFill>
          <a:schemeClr val="accent6">
            <a:lumMod val="75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82296" rIns="106680" bIns="0" numCol="1" spcCol="1270" anchor="t" anchorCtr="0">
          <a:noAutofit/>
        </a:bodyPr>
        <a:lstStyle/>
        <a:p>
          <a:pPr lvl="0" algn="r" defTabSz="10668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n-ZA" sz="2400" b="1" kern="1200" dirty="0"/>
            <a:t>X number of Schools</a:t>
          </a:r>
        </a:p>
      </dsp:txBody>
      <dsp:txXfrm rot="16200000">
        <a:off x="-2206141" y="2206147"/>
        <a:ext cx="5016559" cy="604276"/>
      </dsp:txXfrm>
    </dsp:sp>
    <dsp:sp modelId="{0CB65F03-3D9A-4491-A129-8EA2112FF5DC}">
      <dsp:nvSpPr>
        <dsp:cNvPr id="0" name=""/>
        <dsp:cNvSpPr/>
      </dsp:nvSpPr>
      <dsp:spPr>
        <a:xfrm>
          <a:off x="604276" y="6"/>
          <a:ext cx="2250929" cy="6117755"/>
        </a:xfrm>
        <a:prstGeom prst="rect">
          <a:avLst/>
        </a:prstGeom>
        <a:noFill/>
        <a:ln w="25400" cap="flat" cmpd="sng" algn="ctr">
          <a:noFill/>
          <a:prstDash val="solid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0" tIns="82296" rIns="0" bIns="0" numCol="1" spcCol="1270" anchor="t" anchorCtr="0">
          <a:noAutofit/>
        </a:bodyPr>
        <a:lstStyle/>
        <a:p>
          <a:pPr lvl="0" algn="ctr" defTabSz="10668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n-ZA" sz="2400" b="1" kern="1200" dirty="0"/>
            <a:t>UNIVERSAL</a:t>
          </a:r>
        </a:p>
        <a:p>
          <a:pPr lvl="0" algn="l" defTabSz="57785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n-US" sz="1300" b="0" kern="1200" dirty="0"/>
            <a:t>1</a:t>
          </a:r>
          <a:r>
            <a:rPr lang="en-US" sz="1600" b="0" kern="1200" dirty="0"/>
            <a:t>. </a:t>
          </a:r>
          <a:r>
            <a:rPr lang="en-US" sz="1600" b="1" kern="1200" dirty="0"/>
            <a:t>WAN</a:t>
          </a:r>
          <a:r>
            <a:rPr lang="en-US" sz="1600" b="0" kern="1200" dirty="0"/>
            <a:t> </a:t>
          </a:r>
        </a:p>
        <a:p>
          <a:pPr lvl="0" algn="l" defTabSz="57785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endParaRPr lang="en-US" sz="1000" b="0" kern="1200" dirty="0"/>
        </a:p>
        <a:p>
          <a:pPr lvl="0" algn="l" defTabSz="57785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n-US" sz="1600" b="0" kern="1200" dirty="0"/>
            <a:t>2. </a:t>
          </a:r>
          <a:r>
            <a:rPr lang="en-US" sz="1600" b="1" kern="1200" dirty="0"/>
            <a:t>SLIM LABs</a:t>
          </a:r>
        </a:p>
        <a:p>
          <a:pPr lvl="0" algn="l" defTabSz="57785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endParaRPr lang="en-US" sz="1000" b="1" kern="1200" dirty="0"/>
        </a:p>
        <a:p>
          <a:pPr lvl="0" algn="l" defTabSz="57785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n-US" sz="1600" b="0" kern="1200" dirty="0"/>
            <a:t>3. </a:t>
          </a:r>
          <a:r>
            <a:rPr lang="en-US" sz="1600" b="1" kern="1200" dirty="0"/>
            <a:t>Access Point for </a:t>
          </a:r>
          <a:r>
            <a:rPr lang="en-US" sz="1600" b="1" kern="1200" dirty="0" err="1"/>
            <a:t>wi-fi</a:t>
          </a:r>
          <a:r>
            <a:rPr lang="en-US" sz="1600" b="1" kern="1200" dirty="0"/>
            <a:t> connectivity for teachers</a:t>
          </a:r>
          <a:endParaRPr lang="en-US" sz="1600" b="0" kern="1200" dirty="0"/>
        </a:p>
        <a:p>
          <a:pPr lvl="0" algn="l" defTabSz="57785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endParaRPr lang="en-US" sz="1000" b="0" kern="1200" dirty="0"/>
        </a:p>
        <a:p>
          <a:pPr lvl="0" algn="l" defTabSz="57785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n-US" sz="1600" b="0" kern="1200" dirty="0"/>
            <a:t>4.  Other benefactor projects </a:t>
          </a:r>
          <a:r>
            <a:rPr lang="en-US" sz="1600" b="0" kern="1200" dirty="0" err="1"/>
            <a:t>e.g</a:t>
          </a:r>
          <a:r>
            <a:rPr lang="en-US" sz="1600" b="0" kern="1200" dirty="0"/>
            <a:t> USO technology</a:t>
          </a:r>
        </a:p>
        <a:p>
          <a:pPr lvl="0" algn="l" defTabSz="57785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endParaRPr lang="en-US" sz="1000" b="0" kern="1200" dirty="0"/>
        </a:p>
        <a:p>
          <a:pPr lvl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n-US" sz="1600" b="0" kern="1200" dirty="0"/>
            <a:t>5. Focus on </a:t>
          </a:r>
          <a:r>
            <a:rPr lang="en-ZA" sz="1600" b="0" kern="1200" dirty="0"/>
            <a:t>developing eLearning Leadership</a:t>
          </a:r>
        </a:p>
        <a:p>
          <a:pPr lvl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endParaRPr lang="en-ZA" sz="1000" b="0" kern="1200" dirty="0"/>
        </a:p>
        <a:p>
          <a:pPr lvl="0" algn="l" defTabSz="71120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en-US" sz="1600" b="0" kern="1200" dirty="0"/>
            <a:t>6. Appropriate Teacher Development Pathway</a:t>
          </a:r>
          <a:endParaRPr lang="en-ZA" sz="1600" b="0" kern="1200" dirty="0"/>
        </a:p>
      </dsp:txBody>
      <dsp:txXfrm>
        <a:off x="604276" y="6"/>
        <a:ext cx="2250929" cy="611775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7#1">
  <dgm:title val=""/>
  <dgm:desc val=""/>
  <dgm:catLst>
    <dgm:cat type="process" pri="21000"/>
    <dgm:cat type="list" pri="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23" srcId="2" destId="21" srcOrd="0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Node" refType="h"/>
      <dgm:constr type="w" for="ch" forName="compositeNode" refType="w"/>
      <dgm:constr type="w" for="ch" forName="hSp" refType="w" refFor="ch" refForName="compositeNode" fact="-0.035"/>
      <dgm:constr type="w" for="des" forName="simulatedConn" refType="w" refFor="ch" refForName="compositeNode" fact="0.15"/>
      <dgm:constr type="h" for="des" forName="simulatedConn" refType="w" refFor="des" refForName="simulatedConn"/>
      <dgm:constr type="h" for="des" forName="vSp1" refType="w" refFor="ch" refForName="compositeNode" fact="0.8"/>
      <dgm:constr type="h" for="des" forName="vSp2" refType="w" refFor="ch" refForName="compositeNode" fact="0.07"/>
      <dgm:constr type="w" for="ch" forName="vProcSp" refType="w" refFor="des" refForName="simulatedConn" op="equ"/>
      <dgm:constr type="h" for="ch" forName="vProcSp" refType="h" refFor="ch" refForName="compositeNode" op="equ"/>
      <dgm:constr type="w" for="ch" forName="sibTrans" refType="w" refFor="ch" refForName="compositeNode" fact="-0.08"/>
      <dgm:constr type="primFontSz" for="des" forName="parentNode" op="equ"/>
      <dgm:constr type="primFontSz" for="des" forName="childNode" op="equ"/>
    </dgm:constrLst>
    <dgm:ruleLst/>
    <dgm:forEach name="Name4" axis="ch" ptType="node">
      <dgm:layoutNode name="compositeNode">
        <dgm:varLst>
          <dgm:bulletEnabled val="1"/>
        </dgm:varLst>
        <dgm:alg type="composite"/>
        <dgm:choose name="Name5">
          <dgm:if name="Name6" func="var" arg="dir" op="equ" val="norm">
            <dgm:constrLst>
              <dgm:constr type="h" refType="w" op="lte" fact="1.2"/>
              <dgm:constr type="w" for="ch" forName="bgRect" refType="w"/>
              <dgm:constr type="h" for="ch" forName="bgRect" refType="h"/>
              <dgm:constr type="t" for="ch" forName="bgRect"/>
              <dgm:constr type="l" for="ch" forName="bgRect"/>
              <dgm:constr type="w" for="ch" forName="parentNode" refType="w" refFor="ch" refForName="bgRect" fact="0.2"/>
              <dgm:constr type="h" for="ch" forName="parentNode" refType="h" fact="0.82"/>
              <dgm:constr type="t" for="ch" forName="parentNode"/>
              <dgm:constr type="l" for="ch" forName="parentNode"/>
              <dgm:constr type="r" for="ch" forName="childNode" refType="r" refFor="ch" refForName="bgRect" fact="0.945"/>
              <dgm:constr type="h" for="ch" forName="childNode" refType="h" refFor="ch" refForName="bgRect" op="equ"/>
              <dgm:constr type="t" for="ch" forName="childNode"/>
              <dgm:constr type="l" for="ch" forName="childNode" refType="r" refFor="ch" refForName="parentNode"/>
            </dgm:constrLst>
          </dgm:if>
          <dgm:else name="Name7">
            <dgm:constrLst>
              <dgm:constr type="h" refType="w" op="lte" fact="1.2"/>
              <dgm:constr type="w" for="ch" forName="bgRect" refType="w"/>
              <dgm:constr type="h" for="ch" forName="bgRect" refType="h"/>
              <dgm:constr type="t" for="ch" forName="bgRect"/>
              <dgm:constr type="r" for="ch" forName="bgRect" refType="w"/>
              <dgm:constr type="w" for="ch" forName="parentNode" refType="w" refFor="ch" refForName="bgRect" fact="0.2"/>
              <dgm:constr type="h" for="ch" forName="parentNode" refType="h" fact="0.82"/>
              <dgm:constr type="t" for="ch" forName="parentNode"/>
              <dgm:constr type="r" for="ch" forName="parentNode" refType="w"/>
              <dgm:constr type="h" for="ch" forName="childNode" refType="h" refFor="ch" refForName="bgRect"/>
              <dgm:constr type="t" for="ch" forName="childNode"/>
              <dgm:constr type="r" for="ch" forName="childNode" refType="l" refFor="ch" refForName="parentNode"/>
              <dgm:constr type="l" for="ch" forName="childNode" refType="w" refFor="ch" refForName="bgRect" fact="0.055"/>
            </dgm:constrLst>
          </dgm:else>
        </dgm:choose>
        <dgm:ruleLst>
          <dgm:rule type="w" for="ch" forName="childNode" val="NaN" fact="NaN" max="30"/>
        </dgm:ruleLst>
        <dgm:layoutNode name="bgRect" styleLbl="node1">
          <dgm:alg type="sp"/>
          <dgm:shape xmlns:r="http://schemas.openxmlformats.org/officeDocument/2006/relationships" type="roundRect" r:blip="" zOrderOff="-1">
            <dgm:adjLst>
              <dgm:adj idx="1" val="0.05"/>
            </dgm:adjLst>
          </dgm:shape>
          <dgm:presOf axis="self"/>
          <dgm:constrLst/>
          <dgm:ruleLst/>
        </dgm:layoutNode>
        <dgm:layoutNode name="parentNode" styleLbl="node1">
          <dgm:varLst>
            <dgm:chMax val="0"/>
            <dgm:bulletEnabled val="1"/>
          </dgm:varLst>
          <dgm:presOf axis="self"/>
          <dgm:choose name="Name8">
            <dgm:if name="Name9" func="var" arg="dir" op="equ" val="norm">
              <dgm:alg type="tx">
                <dgm:param type="autoTxRot" val="grav"/>
                <dgm:param type="txAnchorVert" val="t"/>
                <dgm:param type="parTxLTRAlign" val="r"/>
                <dgm:param type="parTxRTLAlign" val="r"/>
              </dgm:alg>
              <dgm:shape xmlns:r="http://schemas.openxmlformats.org/officeDocument/2006/relationships" rot="270" type="rect" r:blip="" hideGeom="1">
                <dgm:adjLst/>
              </dgm:shape>
              <dgm:constrLst>
                <dgm:constr type="primFontSz" val="65"/>
                <dgm:constr type="lMarg"/>
                <dgm:constr type="rMarg" refType="primFontSz" fact="0.35"/>
                <dgm:constr type="tMarg" refType="primFontSz" fact="0.27"/>
                <dgm:constr type="bMarg"/>
              </dgm:constrLst>
            </dgm:if>
            <dgm:else name="Name10">
              <dgm:alg type="tx">
                <dgm:param type="autoTxRot" val="grav"/>
                <dgm:param type="txAnchorVert" val="t"/>
                <dgm:param type="parTxLTRAlign" val="l"/>
                <dgm:param type="parTxRTLAlign" val="l"/>
              </dgm:alg>
              <dgm:shape xmlns:r="http://schemas.openxmlformats.org/officeDocument/2006/relationships" rot="90" type="rect" r:blip="" hideGeom="1">
                <dgm:adjLst/>
              </dgm:shape>
              <dgm:constrLst>
                <dgm:constr type="primFontSz" val="65"/>
                <dgm:constr type="lMarg" refType="primFontSz" fact="0.35"/>
                <dgm:constr type="rMarg"/>
                <dgm:constr type="tMarg" refType="primFontSz" fact="0.27"/>
                <dgm:constr type="bMarg"/>
              </dgm:constrLst>
            </dgm:else>
          </dgm:choose>
          <dgm:ruleLst>
            <dgm:rule type="primFontSz" val="5" fact="NaN" max="NaN"/>
          </dgm:ruleLst>
        </dgm:layoutNode>
        <dgm:choose name="Name11">
          <dgm:if name="Name12" axis="ch" ptType="node" func="cnt" op="gte" val="1">
            <dgm:layoutNode name="childNode" styleLbl="node1" moveWith="bgRect">
              <dgm:varLst>
                <dgm:bulletEnabled val="1"/>
              </dgm:varLst>
              <dgm:alg type="tx">
                <dgm:param type="parTxLTRAlign" val="l"/>
                <dgm:param type="parTxRTLAlign" val="r"/>
                <dgm:param type="txAnchorVert" val="t"/>
              </dgm:alg>
              <dgm:shape xmlns:r="http://schemas.openxmlformats.org/officeDocument/2006/relationships" type="rect" r:blip="" hideGeom="1">
                <dgm:adjLst/>
              </dgm:shape>
              <dgm:presOf axis="des" ptType="node"/>
              <dgm:constrLst>
                <dgm:constr type="primFontSz" val="65"/>
                <dgm:constr type="lMarg"/>
                <dgm:constr type="bMarg"/>
                <dgm:constr type="tMarg" refType="primFontSz" fact="0.27"/>
                <dgm:constr type="rMarg"/>
              </dgm:constrLst>
              <dgm:ruleLst>
                <dgm:rule type="prim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h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vProcSp" moveWith="bgRect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vSp1" refType="w"/>
            <dgm:constr type="w" for="ch" forName="simulatedConn" refType="w"/>
            <dgm:constr type="w" for="ch" forName="vSp2" refType="w"/>
          </dgm:constrLst>
          <dgm:ruleLst/>
          <dgm:layoutNode name="vSp1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  <dgm:layoutNode name="simulatedConn" styleLbl="solidFgAcc1">
            <dgm:alg type="sp"/>
            <dgm:choose name="Name15">
              <dgm:if name="Name16" func="var" arg="dir" op="equ" val="norm">
                <dgm:shape xmlns:r="http://schemas.openxmlformats.org/officeDocument/2006/relationships" rot="90" type="flowChartExtract" r:blip="">
                  <dgm:adjLst/>
                </dgm:shape>
              </dgm:if>
              <dgm:else name="Name17">
                <dgm:shape xmlns:r="http://schemas.openxmlformats.org/officeDocument/2006/relationships" rot="-90" type="flowChartExtract" r:blip="">
                  <dgm:adjLst/>
                </dgm:shape>
              </dgm:else>
            </dgm:choose>
            <dgm:presOf/>
            <dgm:constrLst/>
            <dgm:ruleLst/>
          </dgm:layoutNode>
          <dgm:layoutNode name="vSp2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Process7#2">
  <dgm:title val=""/>
  <dgm:desc val=""/>
  <dgm:catLst>
    <dgm:cat type="process" pri="21000"/>
    <dgm:cat type="list" pri="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23" srcId="2" destId="21" srcOrd="0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Node" refType="h"/>
      <dgm:constr type="w" for="ch" forName="compositeNode" refType="w"/>
      <dgm:constr type="w" for="ch" forName="hSp" refType="w" refFor="ch" refForName="compositeNode" fact="-0.035"/>
      <dgm:constr type="w" for="des" forName="simulatedConn" refType="w" refFor="ch" refForName="compositeNode" fact="0.15"/>
      <dgm:constr type="h" for="des" forName="simulatedConn" refType="w" refFor="des" refForName="simulatedConn"/>
      <dgm:constr type="h" for="des" forName="vSp1" refType="w" refFor="ch" refForName="compositeNode" fact="0.8"/>
      <dgm:constr type="h" for="des" forName="vSp2" refType="w" refFor="ch" refForName="compositeNode" fact="0.07"/>
      <dgm:constr type="w" for="ch" forName="vProcSp" refType="w" refFor="des" refForName="simulatedConn" op="equ"/>
      <dgm:constr type="h" for="ch" forName="vProcSp" refType="h" refFor="ch" refForName="compositeNode" op="equ"/>
      <dgm:constr type="w" for="ch" forName="sibTrans" refType="w" refFor="ch" refForName="compositeNode" fact="-0.08"/>
      <dgm:constr type="primFontSz" for="des" forName="parentNode" op="equ"/>
      <dgm:constr type="primFontSz" for="des" forName="childNode" op="equ"/>
    </dgm:constrLst>
    <dgm:ruleLst/>
    <dgm:forEach name="Name4" axis="ch" ptType="node">
      <dgm:layoutNode name="compositeNode">
        <dgm:varLst>
          <dgm:bulletEnabled val="1"/>
        </dgm:varLst>
        <dgm:alg type="composite"/>
        <dgm:choose name="Name5">
          <dgm:if name="Name6" func="var" arg="dir" op="equ" val="norm">
            <dgm:constrLst>
              <dgm:constr type="h" refType="w" op="lte" fact="1.2"/>
              <dgm:constr type="w" for="ch" forName="bgRect" refType="w"/>
              <dgm:constr type="h" for="ch" forName="bgRect" refType="h"/>
              <dgm:constr type="t" for="ch" forName="bgRect"/>
              <dgm:constr type="l" for="ch" forName="bgRect"/>
              <dgm:constr type="w" for="ch" forName="parentNode" refType="w" refFor="ch" refForName="bgRect" fact="0.2"/>
              <dgm:constr type="h" for="ch" forName="parentNode" refType="h" fact="0.82"/>
              <dgm:constr type="t" for="ch" forName="parentNode"/>
              <dgm:constr type="l" for="ch" forName="parentNode"/>
              <dgm:constr type="r" for="ch" forName="childNode" refType="r" refFor="ch" refForName="bgRect" fact="0.945"/>
              <dgm:constr type="h" for="ch" forName="childNode" refType="h" refFor="ch" refForName="bgRect" op="equ"/>
              <dgm:constr type="t" for="ch" forName="childNode"/>
              <dgm:constr type="l" for="ch" forName="childNode" refType="r" refFor="ch" refForName="parentNode"/>
            </dgm:constrLst>
          </dgm:if>
          <dgm:else name="Name7">
            <dgm:constrLst>
              <dgm:constr type="h" refType="w" op="lte" fact="1.2"/>
              <dgm:constr type="w" for="ch" forName="bgRect" refType="w"/>
              <dgm:constr type="h" for="ch" forName="bgRect" refType="h"/>
              <dgm:constr type="t" for="ch" forName="bgRect"/>
              <dgm:constr type="r" for="ch" forName="bgRect" refType="w"/>
              <dgm:constr type="w" for="ch" forName="parentNode" refType="w" refFor="ch" refForName="bgRect" fact="0.2"/>
              <dgm:constr type="h" for="ch" forName="parentNode" refType="h" fact="0.82"/>
              <dgm:constr type="t" for="ch" forName="parentNode"/>
              <dgm:constr type="r" for="ch" forName="parentNode" refType="w"/>
              <dgm:constr type="h" for="ch" forName="childNode" refType="h" refFor="ch" refForName="bgRect"/>
              <dgm:constr type="t" for="ch" forName="childNode"/>
              <dgm:constr type="r" for="ch" forName="childNode" refType="l" refFor="ch" refForName="parentNode"/>
              <dgm:constr type="l" for="ch" forName="childNode" refType="w" refFor="ch" refForName="bgRect" fact="0.055"/>
            </dgm:constrLst>
          </dgm:else>
        </dgm:choose>
        <dgm:ruleLst>
          <dgm:rule type="w" for="ch" forName="childNode" val="NaN" fact="NaN" max="30"/>
        </dgm:ruleLst>
        <dgm:layoutNode name="bgRect" styleLbl="node1">
          <dgm:alg type="sp"/>
          <dgm:shape xmlns:r="http://schemas.openxmlformats.org/officeDocument/2006/relationships" type="roundRect" r:blip="" zOrderOff="-1">
            <dgm:adjLst>
              <dgm:adj idx="1" val="0.05"/>
            </dgm:adjLst>
          </dgm:shape>
          <dgm:presOf axis="self"/>
          <dgm:constrLst/>
          <dgm:ruleLst/>
        </dgm:layoutNode>
        <dgm:layoutNode name="parentNode" styleLbl="node1">
          <dgm:varLst>
            <dgm:chMax val="0"/>
            <dgm:bulletEnabled val="1"/>
          </dgm:varLst>
          <dgm:presOf axis="self"/>
          <dgm:choose name="Name8">
            <dgm:if name="Name9" func="var" arg="dir" op="equ" val="norm">
              <dgm:alg type="tx">
                <dgm:param type="autoTxRot" val="grav"/>
                <dgm:param type="txAnchorVert" val="t"/>
                <dgm:param type="parTxLTRAlign" val="r"/>
                <dgm:param type="parTxRTLAlign" val="r"/>
              </dgm:alg>
              <dgm:shape xmlns:r="http://schemas.openxmlformats.org/officeDocument/2006/relationships" rot="270" type="rect" r:blip="" hideGeom="1">
                <dgm:adjLst/>
              </dgm:shape>
              <dgm:constrLst>
                <dgm:constr type="primFontSz" val="65"/>
                <dgm:constr type="lMarg"/>
                <dgm:constr type="rMarg" refType="primFontSz" fact="0.35"/>
                <dgm:constr type="tMarg" refType="primFontSz" fact="0.27"/>
                <dgm:constr type="bMarg"/>
              </dgm:constrLst>
            </dgm:if>
            <dgm:else name="Name10">
              <dgm:alg type="tx">
                <dgm:param type="autoTxRot" val="grav"/>
                <dgm:param type="txAnchorVert" val="t"/>
                <dgm:param type="parTxLTRAlign" val="l"/>
                <dgm:param type="parTxRTLAlign" val="l"/>
              </dgm:alg>
              <dgm:shape xmlns:r="http://schemas.openxmlformats.org/officeDocument/2006/relationships" rot="90" type="rect" r:blip="" hideGeom="1">
                <dgm:adjLst/>
              </dgm:shape>
              <dgm:constrLst>
                <dgm:constr type="primFontSz" val="65"/>
                <dgm:constr type="lMarg" refType="primFontSz" fact="0.35"/>
                <dgm:constr type="rMarg"/>
                <dgm:constr type="tMarg" refType="primFontSz" fact="0.27"/>
                <dgm:constr type="bMarg"/>
              </dgm:constrLst>
            </dgm:else>
          </dgm:choose>
          <dgm:ruleLst>
            <dgm:rule type="primFontSz" val="5" fact="NaN" max="NaN"/>
          </dgm:ruleLst>
        </dgm:layoutNode>
        <dgm:choose name="Name11">
          <dgm:if name="Name12" axis="ch" ptType="node" func="cnt" op="gte" val="1">
            <dgm:layoutNode name="childNode" styleLbl="node1" moveWith="bgRect">
              <dgm:varLst>
                <dgm:bulletEnabled val="1"/>
              </dgm:varLst>
              <dgm:alg type="tx">
                <dgm:param type="parTxLTRAlign" val="l"/>
                <dgm:param type="parTxRTLAlign" val="r"/>
                <dgm:param type="txAnchorVert" val="t"/>
              </dgm:alg>
              <dgm:shape xmlns:r="http://schemas.openxmlformats.org/officeDocument/2006/relationships" type="rect" r:blip="" hideGeom="1">
                <dgm:adjLst/>
              </dgm:shape>
              <dgm:presOf axis="des" ptType="node"/>
              <dgm:constrLst>
                <dgm:constr type="primFontSz" val="65"/>
                <dgm:constr type="lMarg"/>
                <dgm:constr type="bMarg"/>
                <dgm:constr type="tMarg" refType="primFontSz" fact="0.27"/>
                <dgm:constr type="rMarg"/>
              </dgm:constrLst>
              <dgm:ruleLst>
                <dgm:rule type="prim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h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vProcSp" moveWith="bgRect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vSp1" refType="w"/>
            <dgm:constr type="w" for="ch" forName="simulatedConn" refType="w"/>
            <dgm:constr type="w" for="ch" forName="vSp2" refType="w"/>
          </dgm:constrLst>
          <dgm:ruleLst/>
          <dgm:layoutNode name="vSp1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  <dgm:layoutNode name="simulatedConn" styleLbl="solidFgAcc1">
            <dgm:alg type="sp"/>
            <dgm:choose name="Name15">
              <dgm:if name="Name16" func="var" arg="dir" op="equ" val="norm">
                <dgm:shape xmlns:r="http://schemas.openxmlformats.org/officeDocument/2006/relationships" rot="90" type="flowChartExtract" r:blip="">
                  <dgm:adjLst/>
                </dgm:shape>
              </dgm:if>
              <dgm:else name="Name17">
                <dgm:shape xmlns:r="http://schemas.openxmlformats.org/officeDocument/2006/relationships" rot="-90" type="flowChartExtract" r:blip="">
                  <dgm:adjLst/>
                </dgm:shape>
              </dgm:else>
            </dgm:choose>
            <dgm:presOf/>
            <dgm:constrLst/>
            <dgm:ruleLst/>
          </dgm:layoutNode>
          <dgm:layoutNode name="vSp2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Process7#3">
  <dgm:title val=""/>
  <dgm:desc val=""/>
  <dgm:catLst>
    <dgm:cat type="process" pri="21000"/>
    <dgm:cat type="list" pri="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23" srcId="2" destId="21" srcOrd="0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Node" refType="h"/>
      <dgm:constr type="w" for="ch" forName="compositeNode" refType="w"/>
      <dgm:constr type="w" for="ch" forName="hSp" refType="w" refFor="ch" refForName="compositeNode" fact="-0.035"/>
      <dgm:constr type="w" for="des" forName="simulatedConn" refType="w" refFor="ch" refForName="compositeNode" fact="0.15"/>
      <dgm:constr type="h" for="des" forName="simulatedConn" refType="w" refFor="des" refForName="simulatedConn"/>
      <dgm:constr type="h" for="des" forName="vSp1" refType="w" refFor="ch" refForName="compositeNode" fact="0.8"/>
      <dgm:constr type="h" for="des" forName="vSp2" refType="w" refFor="ch" refForName="compositeNode" fact="0.07"/>
      <dgm:constr type="w" for="ch" forName="vProcSp" refType="w" refFor="des" refForName="simulatedConn" op="equ"/>
      <dgm:constr type="h" for="ch" forName="vProcSp" refType="h" refFor="ch" refForName="compositeNode" op="equ"/>
      <dgm:constr type="w" for="ch" forName="sibTrans" refType="w" refFor="ch" refForName="compositeNode" fact="-0.08"/>
      <dgm:constr type="primFontSz" for="des" forName="parentNode" op="equ"/>
      <dgm:constr type="primFontSz" for="des" forName="childNode" op="equ"/>
    </dgm:constrLst>
    <dgm:ruleLst/>
    <dgm:forEach name="Name4" axis="ch" ptType="node">
      <dgm:layoutNode name="compositeNode">
        <dgm:varLst>
          <dgm:bulletEnabled val="1"/>
        </dgm:varLst>
        <dgm:alg type="composite"/>
        <dgm:choose name="Name5">
          <dgm:if name="Name6" func="var" arg="dir" op="equ" val="norm">
            <dgm:constrLst>
              <dgm:constr type="h" refType="w" op="lte" fact="1.2"/>
              <dgm:constr type="w" for="ch" forName="bgRect" refType="w"/>
              <dgm:constr type="h" for="ch" forName="bgRect" refType="h"/>
              <dgm:constr type="t" for="ch" forName="bgRect"/>
              <dgm:constr type="l" for="ch" forName="bgRect"/>
              <dgm:constr type="w" for="ch" forName="parentNode" refType="w" refFor="ch" refForName="bgRect" fact="0.2"/>
              <dgm:constr type="h" for="ch" forName="parentNode" refType="h" fact="0.82"/>
              <dgm:constr type="t" for="ch" forName="parentNode"/>
              <dgm:constr type="l" for="ch" forName="parentNode"/>
              <dgm:constr type="r" for="ch" forName="childNode" refType="r" refFor="ch" refForName="bgRect" fact="0.945"/>
              <dgm:constr type="h" for="ch" forName="childNode" refType="h" refFor="ch" refForName="bgRect" op="equ"/>
              <dgm:constr type="t" for="ch" forName="childNode"/>
              <dgm:constr type="l" for="ch" forName="childNode" refType="r" refFor="ch" refForName="parentNode"/>
            </dgm:constrLst>
          </dgm:if>
          <dgm:else name="Name7">
            <dgm:constrLst>
              <dgm:constr type="h" refType="w" op="lte" fact="1.2"/>
              <dgm:constr type="w" for="ch" forName="bgRect" refType="w"/>
              <dgm:constr type="h" for="ch" forName="bgRect" refType="h"/>
              <dgm:constr type="t" for="ch" forName="bgRect"/>
              <dgm:constr type="r" for="ch" forName="bgRect" refType="w"/>
              <dgm:constr type="w" for="ch" forName="parentNode" refType="w" refFor="ch" refForName="bgRect" fact="0.2"/>
              <dgm:constr type="h" for="ch" forName="parentNode" refType="h" fact="0.82"/>
              <dgm:constr type="t" for="ch" forName="parentNode"/>
              <dgm:constr type="r" for="ch" forName="parentNode" refType="w"/>
              <dgm:constr type="h" for="ch" forName="childNode" refType="h" refFor="ch" refForName="bgRect"/>
              <dgm:constr type="t" for="ch" forName="childNode"/>
              <dgm:constr type="r" for="ch" forName="childNode" refType="l" refFor="ch" refForName="parentNode"/>
              <dgm:constr type="l" for="ch" forName="childNode" refType="w" refFor="ch" refForName="bgRect" fact="0.055"/>
            </dgm:constrLst>
          </dgm:else>
        </dgm:choose>
        <dgm:ruleLst>
          <dgm:rule type="w" for="ch" forName="childNode" val="NaN" fact="NaN" max="30"/>
        </dgm:ruleLst>
        <dgm:layoutNode name="bgRect" styleLbl="node1">
          <dgm:alg type="sp"/>
          <dgm:shape xmlns:r="http://schemas.openxmlformats.org/officeDocument/2006/relationships" type="roundRect" r:blip="" zOrderOff="-1">
            <dgm:adjLst>
              <dgm:adj idx="1" val="0.05"/>
            </dgm:adjLst>
          </dgm:shape>
          <dgm:presOf axis="self"/>
          <dgm:constrLst/>
          <dgm:ruleLst/>
        </dgm:layoutNode>
        <dgm:layoutNode name="parentNode" styleLbl="node1">
          <dgm:varLst>
            <dgm:chMax val="0"/>
            <dgm:bulletEnabled val="1"/>
          </dgm:varLst>
          <dgm:presOf axis="self"/>
          <dgm:choose name="Name8">
            <dgm:if name="Name9" func="var" arg="dir" op="equ" val="norm">
              <dgm:alg type="tx">
                <dgm:param type="autoTxRot" val="grav"/>
                <dgm:param type="txAnchorVert" val="t"/>
                <dgm:param type="parTxLTRAlign" val="r"/>
                <dgm:param type="parTxRTLAlign" val="r"/>
              </dgm:alg>
              <dgm:shape xmlns:r="http://schemas.openxmlformats.org/officeDocument/2006/relationships" rot="270" type="rect" r:blip="" hideGeom="1">
                <dgm:adjLst/>
              </dgm:shape>
              <dgm:constrLst>
                <dgm:constr type="primFontSz" val="65"/>
                <dgm:constr type="lMarg"/>
                <dgm:constr type="rMarg" refType="primFontSz" fact="0.35"/>
                <dgm:constr type="tMarg" refType="primFontSz" fact="0.27"/>
                <dgm:constr type="bMarg"/>
              </dgm:constrLst>
            </dgm:if>
            <dgm:else name="Name10">
              <dgm:alg type="tx">
                <dgm:param type="autoTxRot" val="grav"/>
                <dgm:param type="txAnchorVert" val="t"/>
                <dgm:param type="parTxLTRAlign" val="l"/>
                <dgm:param type="parTxRTLAlign" val="l"/>
              </dgm:alg>
              <dgm:shape xmlns:r="http://schemas.openxmlformats.org/officeDocument/2006/relationships" rot="90" type="rect" r:blip="" hideGeom="1">
                <dgm:adjLst/>
              </dgm:shape>
              <dgm:constrLst>
                <dgm:constr type="primFontSz" val="65"/>
                <dgm:constr type="lMarg" refType="primFontSz" fact="0.35"/>
                <dgm:constr type="rMarg"/>
                <dgm:constr type="tMarg" refType="primFontSz" fact="0.27"/>
                <dgm:constr type="bMarg"/>
              </dgm:constrLst>
            </dgm:else>
          </dgm:choose>
          <dgm:ruleLst>
            <dgm:rule type="primFontSz" val="5" fact="NaN" max="NaN"/>
          </dgm:ruleLst>
        </dgm:layoutNode>
        <dgm:choose name="Name11">
          <dgm:if name="Name12" axis="ch" ptType="node" func="cnt" op="gte" val="1">
            <dgm:layoutNode name="childNode" styleLbl="node1" moveWith="bgRect">
              <dgm:varLst>
                <dgm:bulletEnabled val="1"/>
              </dgm:varLst>
              <dgm:alg type="tx">
                <dgm:param type="parTxLTRAlign" val="l"/>
                <dgm:param type="parTxRTLAlign" val="r"/>
                <dgm:param type="txAnchorVert" val="t"/>
              </dgm:alg>
              <dgm:shape xmlns:r="http://schemas.openxmlformats.org/officeDocument/2006/relationships" type="rect" r:blip="" hideGeom="1">
                <dgm:adjLst/>
              </dgm:shape>
              <dgm:presOf axis="des" ptType="node"/>
              <dgm:constrLst>
                <dgm:constr type="primFontSz" val="65"/>
                <dgm:constr type="lMarg"/>
                <dgm:constr type="bMarg"/>
                <dgm:constr type="tMarg" refType="primFontSz" fact="0.27"/>
                <dgm:constr type="rMarg"/>
              </dgm:constrLst>
              <dgm:ruleLst>
                <dgm:rule type="prim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h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vProcSp" moveWith="bgRect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vSp1" refType="w"/>
            <dgm:constr type="w" for="ch" forName="simulatedConn" refType="w"/>
            <dgm:constr type="w" for="ch" forName="vSp2" refType="w"/>
          </dgm:constrLst>
          <dgm:ruleLst/>
          <dgm:layoutNode name="vSp1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  <dgm:layoutNode name="simulatedConn" styleLbl="solidFgAcc1">
            <dgm:alg type="sp"/>
            <dgm:choose name="Name15">
              <dgm:if name="Name16" func="var" arg="dir" op="equ" val="norm">
                <dgm:shape xmlns:r="http://schemas.openxmlformats.org/officeDocument/2006/relationships" rot="90" type="flowChartExtract" r:blip="">
                  <dgm:adjLst/>
                </dgm:shape>
              </dgm:if>
              <dgm:else name="Name17">
                <dgm:shape xmlns:r="http://schemas.openxmlformats.org/officeDocument/2006/relationships" rot="-90" type="flowChartExtract" r:blip="">
                  <dgm:adjLst/>
                </dgm:shape>
              </dgm:else>
            </dgm:choose>
            <dgm:presOf/>
            <dgm:constrLst/>
            <dgm:ruleLst/>
          </dgm:layoutNode>
          <dgm:layoutNode name="vSp2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44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69F7F13-332A-46EC-A2C7-E927ED7ACB2D}" type="datetimeFigureOut">
              <a:rPr lang="en-US" smtClean="0"/>
              <a:pPr/>
              <a:t>8/8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028950" y="857250"/>
            <a:ext cx="3086100" cy="2314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300413"/>
            <a:ext cx="7315200" cy="270033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13513"/>
            <a:ext cx="3962400" cy="3444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DD23090-51EC-4931-8F9D-E29FEF6898C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98727906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44" indent="-171444">
              <a:buFont typeface="Arial" panose="020B0604020202020204" pitchFamily="34" charset="0"/>
              <a:buChar char="•"/>
            </a:pPr>
            <a:r>
              <a:rPr lang="en-ZA" dirty="0"/>
              <a:t>Roll out of Game Changer will be done according to 3 categories of schools.</a:t>
            </a:r>
            <a:r>
              <a:rPr lang="en-ZA" baseline="0" dirty="0"/>
              <a:t> </a:t>
            </a:r>
          </a:p>
          <a:p>
            <a:pPr marL="171444" indent="-171444">
              <a:buFont typeface="Arial" panose="020B0604020202020204" pitchFamily="34" charset="0"/>
              <a:buChar char="•"/>
            </a:pPr>
            <a:r>
              <a:rPr lang="en-ZA" baseline="0" dirty="0"/>
              <a:t>The slide summarises the main characteristics of the 3 school categories as well as the number of schools contained in each of the three categories</a:t>
            </a:r>
          </a:p>
          <a:p>
            <a:pPr marL="171444" indent="-171444">
              <a:buFont typeface="Arial" panose="020B0604020202020204" pitchFamily="34" charset="0"/>
              <a:buChar char="•"/>
            </a:pPr>
            <a:r>
              <a:rPr lang="en-ZA" baseline="0" dirty="0"/>
              <a:t>In essence, the universal school receives the smallest ICT offering whereas a very small set of 16 model schools receive the full suite of solutions. </a:t>
            </a:r>
          </a:p>
          <a:p>
            <a:pPr marL="171444" indent="-171444">
              <a:buFont typeface="Arial" panose="020B0604020202020204" pitchFamily="34" charset="0"/>
              <a:buChar char="•"/>
            </a:pPr>
            <a:r>
              <a:rPr lang="en-ZA" baseline="0" dirty="0"/>
              <a:t>The intent is to move schools along the trajectory as the E-Vision is implemented over the 20 years. This also implies synergy between primary &amp; secondary i.e. If you are a Primary School learner in a model school then you have to move over to a Secondary School in the same category – similar for Universal &amp; Enhanced categories</a:t>
            </a:r>
          </a:p>
          <a:p>
            <a:pPr marL="171444" indent="-171444">
              <a:buFont typeface="Arial" panose="020B0604020202020204" pitchFamily="34" charset="0"/>
              <a:buChar char="•"/>
            </a:pPr>
            <a:r>
              <a:rPr lang="en-ZA" baseline="0" dirty="0"/>
              <a:t>Will also have to consider how we Incentivise schools to move across the categories and those that perform well</a:t>
            </a:r>
          </a:p>
          <a:p>
            <a:pPr marL="171444" indent="-171444">
              <a:buFont typeface="Arial" panose="020B0604020202020204" pitchFamily="34" charset="0"/>
              <a:buChar char="•"/>
            </a:pPr>
            <a:r>
              <a:rPr lang="en-ZA" baseline="0" dirty="0"/>
              <a:t>Prioritise Grade R – 3 as Model or Universal.</a:t>
            </a:r>
          </a:p>
          <a:p>
            <a:pPr marL="171444" indent="-171444">
              <a:buFont typeface="Arial" panose="020B0604020202020204" pitchFamily="34" charset="0"/>
              <a:buChar char="•"/>
            </a:pPr>
            <a:r>
              <a:rPr lang="en-ZA" baseline="0" dirty="0"/>
              <a:t>Investigate ways to secure access to LABs after hours to maximise impact.</a:t>
            </a:r>
          </a:p>
          <a:p>
            <a:pPr marL="171444" indent="-171444">
              <a:buFont typeface="Arial" panose="020B0604020202020204" pitchFamily="34" charset="0"/>
              <a:buChar char="•"/>
            </a:pPr>
            <a:r>
              <a:rPr lang="en-ZA" baseline="0" dirty="0"/>
              <a:t>The three categories of roll out will allow for testing to be done – i.e. which type of offering renders the most results? </a:t>
            </a:r>
            <a:endParaRPr lang="en-ZA" dirty="0"/>
          </a:p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5E2897E-B052-44CE-92A6-D4B2AB10F3F6}" type="slidenum">
              <a:rPr kumimoji="0" lang="en-ZA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ZA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6342107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53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40653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r>
              <a:rPr lang="en-ZA" altLang="en-US" sz="2400"/>
              <a:t>The Game Changer brings with it a focus for a three year period which will be transformational and irreversible in initiating the process of effecting eLearning in all Western Cape schools.</a:t>
            </a:r>
            <a:endParaRPr lang="en-US" altLang="en-US" sz="2400"/>
          </a:p>
          <a:p>
            <a:pPr eaLnBrk="1" hangingPunct="1"/>
            <a:r>
              <a:rPr lang="en-ZA" altLang="en-US" sz="2400"/>
              <a:t>Over the period of the Game Changer, every school, every learner and every teacher benefits.</a:t>
            </a:r>
            <a:endParaRPr lang="en-US" altLang="en-US" sz="2400"/>
          </a:p>
          <a:p>
            <a:pPr eaLnBrk="1" fontAlgn="t" hangingPunct="1"/>
            <a:r>
              <a:rPr lang="en-ZA" altLang="en-US" sz="2400" b="1" u="sng"/>
              <a:t>Three Categories of Schools:</a:t>
            </a:r>
            <a:endParaRPr lang="en-US" altLang="en-US" sz="2400"/>
          </a:p>
          <a:p>
            <a:pPr eaLnBrk="1" fontAlgn="t" hangingPunct="1"/>
            <a:r>
              <a:rPr lang="en-ZA" altLang="en-US" sz="2400" b="1"/>
              <a:t>Universal schools: </a:t>
            </a:r>
            <a:r>
              <a:rPr lang="en-ZA" altLang="en-US" sz="2400"/>
              <a:t>Provide teachers and learners with access to digital resources through WAN via LABs and central Wi-fi Access Points leveraging pathway to broadband</a:t>
            </a:r>
            <a:endParaRPr lang="en-US" altLang="en-US" sz="2400"/>
          </a:p>
          <a:p>
            <a:pPr eaLnBrk="1" fontAlgn="t" hangingPunct="1"/>
            <a:r>
              <a:rPr lang="en-ZA" altLang="en-US" sz="2400" b="1"/>
              <a:t>Enhanced schools: </a:t>
            </a:r>
            <a:r>
              <a:rPr lang="en-ZA" altLang="en-US" sz="2400"/>
              <a:t>Provide for maximising teacher technology in order to introduce and develop eLearning concepts; opportunities to expand direct access to learners</a:t>
            </a:r>
            <a:endParaRPr lang="en-US" altLang="en-US" sz="2400"/>
          </a:p>
          <a:p>
            <a:pPr eaLnBrk="1" fontAlgn="t" hangingPunct="1"/>
            <a:r>
              <a:rPr lang="en-ZA" altLang="en-US" sz="2400" b="1"/>
              <a:t>Model schools:</a:t>
            </a:r>
            <a:r>
              <a:rPr lang="en-ZA" altLang="en-US" sz="2400"/>
              <a:t> Opportunity to showcase full eLearning environment for all role-players, building eCulture and developing leaders in the field</a:t>
            </a:r>
            <a:endParaRPr lang="en-US" altLang="en-US" sz="2400"/>
          </a:p>
          <a:p>
            <a:endParaRPr lang="en-ZA" altLang="en-US"/>
          </a:p>
        </p:txBody>
      </p:sp>
      <p:sp>
        <p:nvSpPr>
          <p:cNvPr id="303108" name="Slide Number Placeholder 3"/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65E5BAC-4548-43D2-ACA1-DCC65E4507FF}" type="slidenum">
              <a:rPr kumimoji="0" lang="en-ZA" altLang="en-US" sz="18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ZA" alt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7150817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694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466947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alt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710FBA69-EF57-4D64-9EA7-5CA38489121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4DFE2E-9EAD-46D8-B4AE-D98A81797D58}" type="slidenum">
              <a:rPr kumimoji="0" lang="en-ZA" sz="1800" b="0" i="0" u="none" strike="noStrike" kern="0" cap="none" spc="0" normalizeH="0" baseline="0" noProof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ZA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4357217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309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xmlns="" id="{7AB4C56F-2A0D-4F22-8CAB-C591AE50C7A1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dirty="0"/>
              <a:t>Appetite for digital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dirty="0" err="1"/>
              <a:t>Conceptualisation</a:t>
            </a:r>
            <a:r>
              <a:rPr lang="en-US" dirty="0"/>
              <a:t> of program design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dirty="0"/>
              <a:t>Learner devices OWN 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dirty="0" err="1"/>
              <a:t>Utilisation</a:t>
            </a:r>
            <a:r>
              <a:rPr lang="en-US" dirty="0"/>
              <a:t> not just about access 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dirty="0"/>
              <a:t>Social media tools not automatically effective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en-US" dirty="0"/>
              <a:t>Be clear on expectations of educational support via apps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endParaRPr lang="en-US" dirty="0"/>
          </a:p>
          <a:p>
            <a:pPr>
              <a:defRPr/>
            </a:pPr>
            <a:endParaRPr lang="en-US" dirty="0"/>
          </a:p>
        </p:txBody>
      </p:sp>
      <p:sp>
        <p:nvSpPr>
          <p:cNvPr id="23556" name="Slide Number Placeholder 3">
            <a:extLst>
              <a:ext uri="{FF2B5EF4-FFF2-40B4-BE49-F238E27FC236}">
                <a16:creationId xmlns:a16="http://schemas.microsoft.com/office/drawing/2014/main" xmlns="" id="{674A4421-ECD0-48E6-B254-E4ABEEBFDF83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 bwMode="auto"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5AEE2EC-0B75-492C-81C0-37DC4A40C957}" type="slidenum">
              <a:rPr kumimoji="0" lang="en-US" altLang="en-US" sz="1800" b="0" i="0" u="none" strike="noStrike" kern="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 pitchFamily="34" charset="0"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altLang="en-US" sz="1800" b="0" i="0" u="none" strike="noStrike" kern="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180350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tags" Target="../tags/tag13.xml"/></Relationships>
</file>

<file path=ppt/slideLayouts/_rels/slideLayout10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225.xml"/><Relationship Id="rId7" Type="http://schemas.openxmlformats.org/officeDocument/2006/relationships/oleObject" Target="../embeddings/oleObject45.bin"/><Relationship Id="rId2" Type="http://schemas.openxmlformats.org/officeDocument/2006/relationships/tags" Target="../tags/tag224.xml"/><Relationship Id="rId1" Type="http://schemas.openxmlformats.org/officeDocument/2006/relationships/vmlDrawing" Target="../drawings/vmlDrawing45.vml"/><Relationship Id="rId6" Type="http://schemas.openxmlformats.org/officeDocument/2006/relationships/slideMaster" Target="../slideMasters/slideMaster7.xml"/><Relationship Id="rId5" Type="http://schemas.openxmlformats.org/officeDocument/2006/relationships/tags" Target="../tags/tag227.xml"/><Relationship Id="rId4" Type="http://schemas.openxmlformats.org/officeDocument/2006/relationships/tags" Target="../tags/tag226.xml"/><Relationship Id="rId9" Type="http://schemas.openxmlformats.org/officeDocument/2006/relationships/image" Target="../media/image6.png"/></Relationships>
</file>

<file path=ppt/slideLayouts/_rels/slideLayout10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229.xml"/><Relationship Id="rId7" Type="http://schemas.openxmlformats.org/officeDocument/2006/relationships/oleObject" Target="../embeddings/oleObject46.bin"/><Relationship Id="rId2" Type="http://schemas.openxmlformats.org/officeDocument/2006/relationships/tags" Target="../tags/tag228.xml"/><Relationship Id="rId1" Type="http://schemas.openxmlformats.org/officeDocument/2006/relationships/vmlDrawing" Target="../drawings/vmlDrawing46.vml"/><Relationship Id="rId6" Type="http://schemas.openxmlformats.org/officeDocument/2006/relationships/slideMaster" Target="../slideMasters/slideMaster7.xml"/><Relationship Id="rId5" Type="http://schemas.openxmlformats.org/officeDocument/2006/relationships/tags" Target="../tags/tag231.xml"/><Relationship Id="rId4" Type="http://schemas.openxmlformats.org/officeDocument/2006/relationships/tags" Target="../tags/tag230.xml"/><Relationship Id="rId9" Type="http://schemas.openxmlformats.org/officeDocument/2006/relationships/image" Target="../media/image6.png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tags" Target="../tags/tag233.xml"/><Relationship Id="rId7" Type="http://schemas.openxmlformats.org/officeDocument/2006/relationships/image" Target="../media/image6.png"/><Relationship Id="rId2" Type="http://schemas.openxmlformats.org/officeDocument/2006/relationships/tags" Target="../tags/tag232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5.jpeg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7.xml"/></Relationships>
</file>

<file path=ppt/slideLayouts/_rels/slideLayout10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235.xml"/><Relationship Id="rId7" Type="http://schemas.openxmlformats.org/officeDocument/2006/relationships/oleObject" Target="../embeddings/oleObject48.bin"/><Relationship Id="rId2" Type="http://schemas.openxmlformats.org/officeDocument/2006/relationships/tags" Target="../tags/tag234.xml"/><Relationship Id="rId1" Type="http://schemas.openxmlformats.org/officeDocument/2006/relationships/vmlDrawing" Target="../drawings/vmlDrawing48.vml"/><Relationship Id="rId6" Type="http://schemas.openxmlformats.org/officeDocument/2006/relationships/slideMaster" Target="../slideMasters/slideMaster7.xml"/><Relationship Id="rId5" Type="http://schemas.openxmlformats.org/officeDocument/2006/relationships/tags" Target="../tags/tag237.xml"/><Relationship Id="rId4" Type="http://schemas.openxmlformats.org/officeDocument/2006/relationships/tags" Target="../tags/tag236.xml"/><Relationship Id="rId9" Type="http://schemas.openxmlformats.org/officeDocument/2006/relationships/image" Target="../media/image6.png"/></Relationships>
</file>

<file path=ppt/slideLayouts/_rels/slideLayout10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239.xml"/><Relationship Id="rId7" Type="http://schemas.openxmlformats.org/officeDocument/2006/relationships/oleObject" Target="../embeddings/oleObject49.bin"/><Relationship Id="rId2" Type="http://schemas.openxmlformats.org/officeDocument/2006/relationships/tags" Target="../tags/tag238.xml"/><Relationship Id="rId1" Type="http://schemas.openxmlformats.org/officeDocument/2006/relationships/vmlDrawing" Target="../drawings/vmlDrawing49.vml"/><Relationship Id="rId6" Type="http://schemas.openxmlformats.org/officeDocument/2006/relationships/slideMaster" Target="../slideMasters/slideMaster7.xml"/><Relationship Id="rId5" Type="http://schemas.openxmlformats.org/officeDocument/2006/relationships/tags" Target="../tags/tag241.xml"/><Relationship Id="rId4" Type="http://schemas.openxmlformats.org/officeDocument/2006/relationships/tags" Target="../tags/tag240.xml"/><Relationship Id="rId9" Type="http://schemas.openxmlformats.org/officeDocument/2006/relationships/image" Target="../media/image6.png"/></Relationships>
</file>

<file path=ppt/slideLayouts/_rels/slideLayout10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243.xml"/><Relationship Id="rId7" Type="http://schemas.openxmlformats.org/officeDocument/2006/relationships/oleObject" Target="../embeddings/oleObject50.bin"/><Relationship Id="rId2" Type="http://schemas.openxmlformats.org/officeDocument/2006/relationships/tags" Target="../tags/tag242.xml"/><Relationship Id="rId1" Type="http://schemas.openxmlformats.org/officeDocument/2006/relationships/vmlDrawing" Target="../drawings/vmlDrawing50.vml"/><Relationship Id="rId6" Type="http://schemas.openxmlformats.org/officeDocument/2006/relationships/slideMaster" Target="../slideMasters/slideMaster7.xml"/><Relationship Id="rId5" Type="http://schemas.openxmlformats.org/officeDocument/2006/relationships/tags" Target="../tags/tag245.xml"/><Relationship Id="rId4" Type="http://schemas.openxmlformats.org/officeDocument/2006/relationships/tags" Target="../tags/tag244.xml"/><Relationship Id="rId9" Type="http://schemas.openxmlformats.org/officeDocument/2006/relationships/image" Target="../media/image6.png"/></Relationships>
</file>

<file path=ppt/slideLayouts/_rels/slideLayout10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247.xml"/><Relationship Id="rId7" Type="http://schemas.openxmlformats.org/officeDocument/2006/relationships/oleObject" Target="../embeddings/oleObject51.bin"/><Relationship Id="rId2" Type="http://schemas.openxmlformats.org/officeDocument/2006/relationships/tags" Target="../tags/tag246.xml"/><Relationship Id="rId1" Type="http://schemas.openxmlformats.org/officeDocument/2006/relationships/vmlDrawing" Target="../drawings/vmlDrawing51.vml"/><Relationship Id="rId6" Type="http://schemas.openxmlformats.org/officeDocument/2006/relationships/slideMaster" Target="../slideMasters/slideMaster7.xml"/><Relationship Id="rId5" Type="http://schemas.openxmlformats.org/officeDocument/2006/relationships/tags" Target="../tags/tag249.xml"/><Relationship Id="rId4" Type="http://schemas.openxmlformats.org/officeDocument/2006/relationships/tags" Target="../tags/tag248.xml"/><Relationship Id="rId9" Type="http://schemas.openxmlformats.org/officeDocument/2006/relationships/image" Target="../media/image6.png"/></Relationships>
</file>

<file path=ppt/slideLayouts/_rels/slideLayout10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251.xml"/><Relationship Id="rId7" Type="http://schemas.openxmlformats.org/officeDocument/2006/relationships/oleObject" Target="../embeddings/oleObject52.bin"/><Relationship Id="rId2" Type="http://schemas.openxmlformats.org/officeDocument/2006/relationships/tags" Target="../tags/tag250.xml"/><Relationship Id="rId1" Type="http://schemas.openxmlformats.org/officeDocument/2006/relationships/vmlDrawing" Target="../drawings/vmlDrawing52.vml"/><Relationship Id="rId6" Type="http://schemas.openxmlformats.org/officeDocument/2006/relationships/slideMaster" Target="../slideMasters/slideMaster7.xml"/><Relationship Id="rId5" Type="http://schemas.openxmlformats.org/officeDocument/2006/relationships/tags" Target="../tags/tag253.xml"/><Relationship Id="rId4" Type="http://schemas.openxmlformats.org/officeDocument/2006/relationships/tags" Target="../tags/tag252.xml"/><Relationship Id="rId9" Type="http://schemas.openxmlformats.org/officeDocument/2006/relationships/image" Target="../media/image6.png"/></Relationships>
</file>

<file path=ppt/slideLayouts/_rels/slideLayout10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255.xml"/><Relationship Id="rId7" Type="http://schemas.openxmlformats.org/officeDocument/2006/relationships/oleObject" Target="../embeddings/oleObject53.bin"/><Relationship Id="rId2" Type="http://schemas.openxmlformats.org/officeDocument/2006/relationships/tags" Target="../tags/tag254.xml"/><Relationship Id="rId1" Type="http://schemas.openxmlformats.org/officeDocument/2006/relationships/vmlDrawing" Target="../drawings/vmlDrawing53.vml"/><Relationship Id="rId6" Type="http://schemas.openxmlformats.org/officeDocument/2006/relationships/slideMaster" Target="../slideMasters/slideMaster7.xml"/><Relationship Id="rId5" Type="http://schemas.openxmlformats.org/officeDocument/2006/relationships/tags" Target="../tags/tag257.xml"/><Relationship Id="rId4" Type="http://schemas.openxmlformats.org/officeDocument/2006/relationships/tags" Target="../tags/tag256.xml"/><Relationship Id="rId9" Type="http://schemas.openxmlformats.org/officeDocument/2006/relationships/image" Target="../media/image6.png"/></Relationships>
</file>

<file path=ppt/slideLayouts/_rels/slideLayout10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259.xml"/><Relationship Id="rId7" Type="http://schemas.openxmlformats.org/officeDocument/2006/relationships/oleObject" Target="../embeddings/oleObject54.bin"/><Relationship Id="rId2" Type="http://schemas.openxmlformats.org/officeDocument/2006/relationships/tags" Target="../tags/tag258.xml"/><Relationship Id="rId1" Type="http://schemas.openxmlformats.org/officeDocument/2006/relationships/vmlDrawing" Target="../drawings/vmlDrawing54.vml"/><Relationship Id="rId6" Type="http://schemas.openxmlformats.org/officeDocument/2006/relationships/slideMaster" Target="../slideMasters/slideMaster7.xml"/><Relationship Id="rId5" Type="http://schemas.openxmlformats.org/officeDocument/2006/relationships/tags" Target="../tags/tag261.xml"/><Relationship Id="rId4" Type="http://schemas.openxmlformats.org/officeDocument/2006/relationships/tags" Target="../tags/tag260.xml"/><Relationship Id="rId9" Type="http://schemas.openxmlformats.org/officeDocument/2006/relationships/image" Target="../media/image6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6.xml"/><Relationship Id="rId1" Type="http://schemas.openxmlformats.org/officeDocument/2006/relationships/tags" Target="../tags/tag15.xml"/></Relationships>
</file>

<file path=ppt/slideLayouts/_rels/slideLayout1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263.xml"/><Relationship Id="rId7" Type="http://schemas.openxmlformats.org/officeDocument/2006/relationships/oleObject" Target="../embeddings/oleObject55.bin"/><Relationship Id="rId2" Type="http://schemas.openxmlformats.org/officeDocument/2006/relationships/tags" Target="../tags/tag262.xml"/><Relationship Id="rId1" Type="http://schemas.openxmlformats.org/officeDocument/2006/relationships/vmlDrawing" Target="../drawings/vmlDrawing55.vml"/><Relationship Id="rId6" Type="http://schemas.openxmlformats.org/officeDocument/2006/relationships/slideMaster" Target="../slideMasters/slideMaster7.xml"/><Relationship Id="rId5" Type="http://schemas.openxmlformats.org/officeDocument/2006/relationships/tags" Target="../tags/tag265.xml"/><Relationship Id="rId4" Type="http://schemas.openxmlformats.org/officeDocument/2006/relationships/tags" Target="../tags/tag264.xml"/><Relationship Id="rId9" Type="http://schemas.openxmlformats.org/officeDocument/2006/relationships/image" Target="../media/image6.png"/></Relationships>
</file>

<file path=ppt/slideLayouts/_rels/slideLayout1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267.xml"/><Relationship Id="rId7" Type="http://schemas.openxmlformats.org/officeDocument/2006/relationships/oleObject" Target="../embeddings/oleObject56.bin"/><Relationship Id="rId2" Type="http://schemas.openxmlformats.org/officeDocument/2006/relationships/tags" Target="../tags/tag266.xml"/><Relationship Id="rId1" Type="http://schemas.openxmlformats.org/officeDocument/2006/relationships/vmlDrawing" Target="../drawings/vmlDrawing56.vml"/><Relationship Id="rId6" Type="http://schemas.openxmlformats.org/officeDocument/2006/relationships/slideMaster" Target="../slideMasters/slideMaster7.xml"/><Relationship Id="rId5" Type="http://schemas.openxmlformats.org/officeDocument/2006/relationships/tags" Target="../tags/tag269.xml"/><Relationship Id="rId4" Type="http://schemas.openxmlformats.org/officeDocument/2006/relationships/tags" Target="../tags/tag268.xml"/><Relationship Id="rId9" Type="http://schemas.openxmlformats.org/officeDocument/2006/relationships/image" Target="../media/image6.png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7.xml"/></Relationships>
</file>

<file path=ppt/slideLayouts/_rels/slideLayout1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271.xml"/><Relationship Id="rId7" Type="http://schemas.openxmlformats.org/officeDocument/2006/relationships/oleObject" Target="../embeddings/oleObject57.bin"/><Relationship Id="rId2" Type="http://schemas.openxmlformats.org/officeDocument/2006/relationships/tags" Target="../tags/tag270.xml"/><Relationship Id="rId1" Type="http://schemas.openxmlformats.org/officeDocument/2006/relationships/vmlDrawing" Target="../drawings/vmlDrawing57.vml"/><Relationship Id="rId6" Type="http://schemas.openxmlformats.org/officeDocument/2006/relationships/slideMaster" Target="../slideMasters/slideMaster7.xml"/><Relationship Id="rId5" Type="http://schemas.openxmlformats.org/officeDocument/2006/relationships/tags" Target="../tags/tag273.xml"/><Relationship Id="rId4" Type="http://schemas.openxmlformats.org/officeDocument/2006/relationships/tags" Target="../tags/tag272.xml"/><Relationship Id="rId9" Type="http://schemas.openxmlformats.org/officeDocument/2006/relationships/image" Target="../media/image6.png"/></Relationships>
</file>

<file path=ppt/slideLayouts/_rels/slideLayout1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275.xml"/><Relationship Id="rId7" Type="http://schemas.openxmlformats.org/officeDocument/2006/relationships/oleObject" Target="../embeddings/oleObject58.bin"/><Relationship Id="rId2" Type="http://schemas.openxmlformats.org/officeDocument/2006/relationships/tags" Target="../tags/tag274.xml"/><Relationship Id="rId1" Type="http://schemas.openxmlformats.org/officeDocument/2006/relationships/vmlDrawing" Target="../drawings/vmlDrawing58.vml"/><Relationship Id="rId6" Type="http://schemas.openxmlformats.org/officeDocument/2006/relationships/slideMaster" Target="../slideMasters/slideMaster7.xml"/><Relationship Id="rId5" Type="http://schemas.openxmlformats.org/officeDocument/2006/relationships/tags" Target="../tags/tag277.xml"/><Relationship Id="rId4" Type="http://schemas.openxmlformats.org/officeDocument/2006/relationships/tags" Target="../tags/tag276.xml"/><Relationship Id="rId9" Type="http://schemas.openxmlformats.org/officeDocument/2006/relationships/image" Target="../media/image6.png"/></Relationships>
</file>

<file path=ppt/slideLayouts/_rels/slideLayout1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279.xml"/><Relationship Id="rId7" Type="http://schemas.openxmlformats.org/officeDocument/2006/relationships/oleObject" Target="../embeddings/oleObject59.bin"/><Relationship Id="rId2" Type="http://schemas.openxmlformats.org/officeDocument/2006/relationships/tags" Target="../tags/tag278.xml"/><Relationship Id="rId1" Type="http://schemas.openxmlformats.org/officeDocument/2006/relationships/vmlDrawing" Target="../drawings/vmlDrawing59.vml"/><Relationship Id="rId6" Type="http://schemas.openxmlformats.org/officeDocument/2006/relationships/slideMaster" Target="../slideMasters/slideMaster7.xml"/><Relationship Id="rId5" Type="http://schemas.openxmlformats.org/officeDocument/2006/relationships/tags" Target="../tags/tag281.xml"/><Relationship Id="rId4" Type="http://schemas.openxmlformats.org/officeDocument/2006/relationships/tags" Target="../tags/tag280.xml"/><Relationship Id="rId9" Type="http://schemas.openxmlformats.org/officeDocument/2006/relationships/image" Target="../media/image6.png"/></Relationships>
</file>

<file path=ppt/slideLayouts/_rels/slideLayout1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283.xml"/><Relationship Id="rId7" Type="http://schemas.openxmlformats.org/officeDocument/2006/relationships/oleObject" Target="../embeddings/oleObject60.bin"/><Relationship Id="rId2" Type="http://schemas.openxmlformats.org/officeDocument/2006/relationships/tags" Target="../tags/tag282.xml"/><Relationship Id="rId1" Type="http://schemas.openxmlformats.org/officeDocument/2006/relationships/vmlDrawing" Target="../drawings/vmlDrawing60.vml"/><Relationship Id="rId6" Type="http://schemas.openxmlformats.org/officeDocument/2006/relationships/slideMaster" Target="../slideMasters/slideMaster7.xml"/><Relationship Id="rId5" Type="http://schemas.openxmlformats.org/officeDocument/2006/relationships/tags" Target="../tags/tag285.xml"/><Relationship Id="rId4" Type="http://schemas.openxmlformats.org/officeDocument/2006/relationships/tags" Target="../tags/tag284.xml"/><Relationship Id="rId9" Type="http://schemas.openxmlformats.org/officeDocument/2006/relationships/image" Target="../media/image6.png"/></Relationships>
</file>

<file path=ppt/slideLayouts/_rels/slideLayout1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287.xml"/><Relationship Id="rId7" Type="http://schemas.openxmlformats.org/officeDocument/2006/relationships/oleObject" Target="../embeddings/oleObject61.bin"/><Relationship Id="rId2" Type="http://schemas.openxmlformats.org/officeDocument/2006/relationships/tags" Target="../tags/tag286.xml"/><Relationship Id="rId1" Type="http://schemas.openxmlformats.org/officeDocument/2006/relationships/vmlDrawing" Target="../drawings/vmlDrawing61.vml"/><Relationship Id="rId6" Type="http://schemas.openxmlformats.org/officeDocument/2006/relationships/slideMaster" Target="../slideMasters/slideMaster7.xml"/><Relationship Id="rId5" Type="http://schemas.openxmlformats.org/officeDocument/2006/relationships/tags" Target="../tags/tag289.xml"/><Relationship Id="rId4" Type="http://schemas.openxmlformats.org/officeDocument/2006/relationships/tags" Target="../tags/tag288.xml"/><Relationship Id="rId9" Type="http://schemas.openxmlformats.org/officeDocument/2006/relationships/image" Target="../media/image6.png"/></Relationships>
</file>

<file path=ppt/slideLayouts/_rels/slideLayout1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291.xml"/><Relationship Id="rId7" Type="http://schemas.openxmlformats.org/officeDocument/2006/relationships/oleObject" Target="../embeddings/oleObject62.bin"/><Relationship Id="rId2" Type="http://schemas.openxmlformats.org/officeDocument/2006/relationships/tags" Target="../tags/tag290.xml"/><Relationship Id="rId1" Type="http://schemas.openxmlformats.org/officeDocument/2006/relationships/vmlDrawing" Target="../drawings/vmlDrawing62.vml"/><Relationship Id="rId6" Type="http://schemas.openxmlformats.org/officeDocument/2006/relationships/slideMaster" Target="../slideMasters/slideMaster7.xml"/><Relationship Id="rId5" Type="http://schemas.openxmlformats.org/officeDocument/2006/relationships/tags" Target="../tags/tag293.xml"/><Relationship Id="rId4" Type="http://schemas.openxmlformats.org/officeDocument/2006/relationships/tags" Target="../tags/tag292.xml"/><Relationship Id="rId9" Type="http://schemas.openxmlformats.org/officeDocument/2006/relationships/image" Target="../media/image6.png"/></Relationships>
</file>

<file path=ppt/slideLayouts/_rels/slideLayout1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295.xml"/><Relationship Id="rId7" Type="http://schemas.openxmlformats.org/officeDocument/2006/relationships/oleObject" Target="../embeddings/oleObject63.bin"/><Relationship Id="rId2" Type="http://schemas.openxmlformats.org/officeDocument/2006/relationships/tags" Target="../tags/tag294.xml"/><Relationship Id="rId1" Type="http://schemas.openxmlformats.org/officeDocument/2006/relationships/vmlDrawing" Target="../drawings/vmlDrawing63.vml"/><Relationship Id="rId6" Type="http://schemas.openxmlformats.org/officeDocument/2006/relationships/slideMaster" Target="../slideMasters/slideMaster7.xml"/><Relationship Id="rId5" Type="http://schemas.openxmlformats.org/officeDocument/2006/relationships/tags" Target="../tags/tag297.xml"/><Relationship Id="rId4" Type="http://schemas.openxmlformats.org/officeDocument/2006/relationships/tags" Target="../tags/tag296.xml"/><Relationship Id="rId9" Type="http://schemas.openxmlformats.org/officeDocument/2006/relationships/image" Target="../media/image6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8.xml"/><Relationship Id="rId1" Type="http://schemas.openxmlformats.org/officeDocument/2006/relationships/tags" Target="../tags/tag17.xml"/></Relationships>
</file>

<file path=ppt/slideLayouts/_rels/slideLayout1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299.xml"/><Relationship Id="rId7" Type="http://schemas.openxmlformats.org/officeDocument/2006/relationships/oleObject" Target="../embeddings/oleObject64.bin"/><Relationship Id="rId2" Type="http://schemas.openxmlformats.org/officeDocument/2006/relationships/tags" Target="../tags/tag298.xml"/><Relationship Id="rId1" Type="http://schemas.openxmlformats.org/officeDocument/2006/relationships/vmlDrawing" Target="../drawings/vmlDrawing64.vml"/><Relationship Id="rId6" Type="http://schemas.openxmlformats.org/officeDocument/2006/relationships/slideMaster" Target="../slideMasters/slideMaster7.xml"/><Relationship Id="rId5" Type="http://schemas.openxmlformats.org/officeDocument/2006/relationships/tags" Target="../tags/tag301.xml"/><Relationship Id="rId4" Type="http://schemas.openxmlformats.org/officeDocument/2006/relationships/tags" Target="../tags/tag300.xml"/><Relationship Id="rId9" Type="http://schemas.openxmlformats.org/officeDocument/2006/relationships/image" Target="../media/image6.png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7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7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8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09.xml"/><Relationship Id="rId1" Type="http://schemas.openxmlformats.org/officeDocument/2006/relationships/tags" Target="../tags/tag308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11.xml"/><Relationship Id="rId1" Type="http://schemas.openxmlformats.org/officeDocument/2006/relationships/tags" Target="../tags/tag310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13.xml"/><Relationship Id="rId1" Type="http://schemas.openxmlformats.org/officeDocument/2006/relationships/tags" Target="../tags/tag312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15.xml"/><Relationship Id="rId1" Type="http://schemas.openxmlformats.org/officeDocument/2006/relationships/tags" Target="../tags/tag314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17.xml"/><Relationship Id="rId1" Type="http://schemas.openxmlformats.org/officeDocument/2006/relationships/tags" Target="../tags/tag316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19.xml"/><Relationship Id="rId1" Type="http://schemas.openxmlformats.org/officeDocument/2006/relationships/tags" Target="../tags/tag318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0.xml"/><Relationship Id="rId1" Type="http://schemas.openxmlformats.org/officeDocument/2006/relationships/tags" Target="../tags/tag19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21.xml"/><Relationship Id="rId1" Type="http://schemas.openxmlformats.org/officeDocument/2006/relationships/tags" Target="../tags/tag320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23.xml"/><Relationship Id="rId1" Type="http://schemas.openxmlformats.org/officeDocument/2006/relationships/tags" Target="../tags/tag322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25.xml"/><Relationship Id="rId1" Type="http://schemas.openxmlformats.org/officeDocument/2006/relationships/tags" Target="../tags/tag324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27.xml"/><Relationship Id="rId1" Type="http://schemas.openxmlformats.org/officeDocument/2006/relationships/tags" Target="../tags/tag326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29.xml"/><Relationship Id="rId1" Type="http://schemas.openxmlformats.org/officeDocument/2006/relationships/tags" Target="../tags/tag328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31.xml"/><Relationship Id="rId1" Type="http://schemas.openxmlformats.org/officeDocument/2006/relationships/tags" Target="../tags/tag330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8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33.xml"/><Relationship Id="rId1" Type="http://schemas.openxmlformats.org/officeDocument/2006/relationships/tags" Target="../tags/tag332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35.xml"/><Relationship Id="rId1" Type="http://schemas.openxmlformats.org/officeDocument/2006/relationships/tags" Target="../tags/tag334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37.xml"/><Relationship Id="rId1" Type="http://schemas.openxmlformats.org/officeDocument/2006/relationships/tags" Target="../tags/tag336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2.xml"/><Relationship Id="rId1" Type="http://schemas.openxmlformats.org/officeDocument/2006/relationships/tags" Target="../tags/tag21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39.xml"/><Relationship Id="rId1" Type="http://schemas.openxmlformats.org/officeDocument/2006/relationships/tags" Target="../tags/tag338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41.xml"/><Relationship Id="rId1" Type="http://schemas.openxmlformats.org/officeDocument/2006/relationships/tags" Target="../tags/tag340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43.xml"/><Relationship Id="rId1" Type="http://schemas.openxmlformats.org/officeDocument/2006/relationships/tags" Target="../tags/tag342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45.xml"/><Relationship Id="rId1" Type="http://schemas.openxmlformats.org/officeDocument/2006/relationships/tags" Target="../tags/tag344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347.xml"/><Relationship Id="rId1" Type="http://schemas.openxmlformats.org/officeDocument/2006/relationships/tags" Target="../tags/tag346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8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8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9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55.xml"/><Relationship Id="rId1" Type="http://schemas.openxmlformats.org/officeDocument/2006/relationships/tags" Target="../tags/tag354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57.xml"/><Relationship Id="rId1" Type="http://schemas.openxmlformats.org/officeDocument/2006/relationships/tags" Target="../tags/tag356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4.xml"/><Relationship Id="rId1" Type="http://schemas.openxmlformats.org/officeDocument/2006/relationships/tags" Target="../tags/tag23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59.xml"/><Relationship Id="rId1" Type="http://schemas.openxmlformats.org/officeDocument/2006/relationships/tags" Target="../tags/tag358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61.xml"/><Relationship Id="rId1" Type="http://schemas.openxmlformats.org/officeDocument/2006/relationships/tags" Target="../tags/tag360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63.xml"/><Relationship Id="rId1" Type="http://schemas.openxmlformats.org/officeDocument/2006/relationships/tags" Target="../tags/tag362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65.xml"/><Relationship Id="rId1" Type="http://schemas.openxmlformats.org/officeDocument/2006/relationships/tags" Target="../tags/tag364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67.xml"/><Relationship Id="rId1" Type="http://schemas.openxmlformats.org/officeDocument/2006/relationships/tags" Target="../tags/tag366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69.xml"/><Relationship Id="rId1" Type="http://schemas.openxmlformats.org/officeDocument/2006/relationships/tags" Target="../tags/tag368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71.xml"/><Relationship Id="rId1" Type="http://schemas.openxmlformats.org/officeDocument/2006/relationships/tags" Target="../tags/tag370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73.xml"/><Relationship Id="rId1" Type="http://schemas.openxmlformats.org/officeDocument/2006/relationships/tags" Target="../tags/tag372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75.xml"/><Relationship Id="rId1" Type="http://schemas.openxmlformats.org/officeDocument/2006/relationships/tags" Target="../tags/tag374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77.xml"/><Relationship Id="rId1" Type="http://schemas.openxmlformats.org/officeDocument/2006/relationships/tags" Target="../tags/tag376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6.xml"/><Relationship Id="rId1" Type="http://schemas.openxmlformats.org/officeDocument/2006/relationships/tags" Target="../tags/tag25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9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79.xml"/><Relationship Id="rId1" Type="http://schemas.openxmlformats.org/officeDocument/2006/relationships/tags" Target="../tags/tag378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81.xml"/><Relationship Id="rId1" Type="http://schemas.openxmlformats.org/officeDocument/2006/relationships/tags" Target="../tags/tag380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83.xml"/><Relationship Id="rId1" Type="http://schemas.openxmlformats.org/officeDocument/2006/relationships/tags" Target="../tags/tag382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85.xml"/><Relationship Id="rId1" Type="http://schemas.openxmlformats.org/officeDocument/2006/relationships/tags" Target="../tags/tag384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87.xml"/><Relationship Id="rId1" Type="http://schemas.openxmlformats.org/officeDocument/2006/relationships/tags" Target="../tags/tag386.xml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89.xml"/><Relationship Id="rId1" Type="http://schemas.openxmlformats.org/officeDocument/2006/relationships/tags" Target="../tags/tag388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91.xml"/><Relationship Id="rId1" Type="http://schemas.openxmlformats.org/officeDocument/2006/relationships/tags" Target="../tags/tag390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393.xml"/><Relationship Id="rId1" Type="http://schemas.openxmlformats.org/officeDocument/2006/relationships/tags" Target="../tags/tag392.xml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9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8.xml"/><Relationship Id="rId1" Type="http://schemas.openxmlformats.org/officeDocument/2006/relationships/tags" Target="../tags/tag27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9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15.emf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0.xml"/><Relationship Id="rId1" Type="http://schemas.openxmlformats.org/officeDocument/2006/relationships/tags" Target="../tags/tag29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2.xml"/><Relationship Id="rId1" Type="http://schemas.openxmlformats.org/officeDocument/2006/relationships/tags" Target="../tags/tag3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4.xml"/><Relationship Id="rId1" Type="http://schemas.openxmlformats.org/officeDocument/2006/relationships/tags" Target="../tags/tag3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6.xml"/><Relationship Id="rId1" Type="http://schemas.openxmlformats.org/officeDocument/2006/relationships/tags" Target="../tags/tag35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8.xml"/><Relationship Id="rId1" Type="http://schemas.openxmlformats.org/officeDocument/2006/relationships/tags" Target="../tags/tag37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0.xml"/><Relationship Id="rId1" Type="http://schemas.openxmlformats.org/officeDocument/2006/relationships/tags" Target="../tags/tag39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2.xml"/><Relationship Id="rId1" Type="http://schemas.openxmlformats.org/officeDocument/2006/relationships/tags" Target="../tags/tag4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4.xml"/><Relationship Id="rId1" Type="http://schemas.openxmlformats.org/officeDocument/2006/relationships/tags" Target="../tags/tag4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6.xml"/><Relationship Id="rId1" Type="http://schemas.openxmlformats.org/officeDocument/2006/relationships/tags" Target="../tags/tag45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7.xml"/><Relationship Id="rId4" Type="http://schemas.openxmlformats.org/officeDocument/2006/relationships/image" Target="../media/image12.png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55.xml"/><Relationship Id="rId7" Type="http://schemas.openxmlformats.org/officeDocument/2006/relationships/oleObject" Target="../embeddings/oleObject3.bin"/><Relationship Id="rId2" Type="http://schemas.openxmlformats.org/officeDocument/2006/relationships/tags" Target="../tags/tag54.xml"/><Relationship Id="rId1" Type="http://schemas.openxmlformats.org/officeDocument/2006/relationships/vmlDrawing" Target="../drawings/vmlDrawing3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57.xml"/><Relationship Id="rId4" Type="http://schemas.openxmlformats.org/officeDocument/2006/relationships/tags" Target="../tags/tag56.xml"/><Relationship Id="rId9" Type="http://schemas.openxmlformats.org/officeDocument/2006/relationships/image" Target="../media/image6.png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59.xml"/><Relationship Id="rId7" Type="http://schemas.openxmlformats.org/officeDocument/2006/relationships/oleObject" Target="../embeddings/oleObject4.bin"/><Relationship Id="rId2" Type="http://schemas.openxmlformats.org/officeDocument/2006/relationships/tags" Target="../tags/tag58.xml"/><Relationship Id="rId1" Type="http://schemas.openxmlformats.org/officeDocument/2006/relationships/vmlDrawing" Target="../drawings/vmlDrawing4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61.xml"/><Relationship Id="rId4" Type="http://schemas.openxmlformats.org/officeDocument/2006/relationships/tags" Target="../tags/tag60.xml"/><Relationship Id="rId9" Type="http://schemas.openxmlformats.org/officeDocument/2006/relationships/image" Target="../media/image6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7" Type="http://schemas.openxmlformats.org/officeDocument/2006/relationships/image" Target="../media/image6.png"/><Relationship Id="rId2" Type="http://schemas.openxmlformats.org/officeDocument/2006/relationships/tags" Target="../tags/tag6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jpeg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65.xml"/><Relationship Id="rId7" Type="http://schemas.openxmlformats.org/officeDocument/2006/relationships/oleObject" Target="../embeddings/oleObject6.bin"/><Relationship Id="rId2" Type="http://schemas.openxmlformats.org/officeDocument/2006/relationships/tags" Target="../tags/tag64.xml"/><Relationship Id="rId1" Type="http://schemas.openxmlformats.org/officeDocument/2006/relationships/vmlDrawing" Target="../drawings/vmlDrawing6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67.xml"/><Relationship Id="rId4" Type="http://schemas.openxmlformats.org/officeDocument/2006/relationships/tags" Target="../tags/tag66.xml"/><Relationship Id="rId9" Type="http://schemas.openxmlformats.org/officeDocument/2006/relationships/image" Target="../media/image6.png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69.xml"/><Relationship Id="rId7" Type="http://schemas.openxmlformats.org/officeDocument/2006/relationships/oleObject" Target="../embeddings/oleObject7.bin"/><Relationship Id="rId2" Type="http://schemas.openxmlformats.org/officeDocument/2006/relationships/tags" Target="../tags/tag68.xml"/><Relationship Id="rId1" Type="http://schemas.openxmlformats.org/officeDocument/2006/relationships/vmlDrawing" Target="../drawings/vmlDrawing7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71.xml"/><Relationship Id="rId4" Type="http://schemas.openxmlformats.org/officeDocument/2006/relationships/tags" Target="../tags/tag70.xml"/><Relationship Id="rId9" Type="http://schemas.openxmlformats.org/officeDocument/2006/relationships/image" Target="../media/image6.png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73.xml"/><Relationship Id="rId7" Type="http://schemas.openxmlformats.org/officeDocument/2006/relationships/oleObject" Target="../embeddings/oleObject8.bin"/><Relationship Id="rId2" Type="http://schemas.openxmlformats.org/officeDocument/2006/relationships/tags" Target="../tags/tag72.xml"/><Relationship Id="rId1" Type="http://schemas.openxmlformats.org/officeDocument/2006/relationships/vmlDrawing" Target="../drawings/vmlDrawing8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75.xml"/><Relationship Id="rId4" Type="http://schemas.openxmlformats.org/officeDocument/2006/relationships/tags" Target="../tags/tag74.xml"/><Relationship Id="rId9" Type="http://schemas.openxmlformats.org/officeDocument/2006/relationships/image" Target="../media/image6.png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77.xml"/><Relationship Id="rId7" Type="http://schemas.openxmlformats.org/officeDocument/2006/relationships/oleObject" Target="../embeddings/oleObject9.bin"/><Relationship Id="rId2" Type="http://schemas.openxmlformats.org/officeDocument/2006/relationships/tags" Target="../tags/tag76.xml"/><Relationship Id="rId1" Type="http://schemas.openxmlformats.org/officeDocument/2006/relationships/vmlDrawing" Target="../drawings/vmlDrawing9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79.xml"/><Relationship Id="rId4" Type="http://schemas.openxmlformats.org/officeDocument/2006/relationships/tags" Target="../tags/tag78.xml"/><Relationship Id="rId9" Type="http://schemas.openxmlformats.org/officeDocument/2006/relationships/image" Target="../media/image6.png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81.xml"/><Relationship Id="rId7" Type="http://schemas.openxmlformats.org/officeDocument/2006/relationships/oleObject" Target="../embeddings/oleObject10.bin"/><Relationship Id="rId2" Type="http://schemas.openxmlformats.org/officeDocument/2006/relationships/tags" Target="../tags/tag80.xml"/><Relationship Id="rId1" Type="http://schemas.openxmlformats.org/officeDocument/2006/relationships/vmlDrawing" Target="../drawings/vmlDrawing10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83.xml"/><Relationship Id="rId4" Type="http://schemas.openxmlformats.org/officeDocument/2006/relationships/tags" Target="../tags/tag82.xml"/><Relationship Id="rId9" Type="http://schemas.openxmlformats.org/officeDocument/2006/relationships/image" Target="../media/image6.png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85.xml"/><Relationship Id="rId7" Type="http://schemas.openxmlformats.org/officeDocument/2006/relationships/oleObject" Target="../embeddings/oleObject11.bin"/><Relationship Id="rId2" Type="http://schemas.openxmlformats.org/officeDocument/2006/relationships/tags" Target="../tags/tag84.xml"/><Relationship Id="rId1" Type="http://schemas.openxmlformats.org/officeDocument/2006/relationships/vmlDrawing" Target="../drawings/vmlDrawing11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87.xml"/><Relationship Id="rId4" Type="http://schemas.openxmlformats.org/officeDocument/2006/relationships/tags" Target="../tags/tag86.xml"/><Relationship Id="rId9" Type="http://schemas.openxmlformats.org/officeDocument/2006/relationships/image" Target="../media/image6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89.xml"/><Relationship Id="rId7" Type="http://schemas.openxmlformats.org/officeDocument/2006/relationships/oleObject" Target="../embeddings/oleObject12.bin"/><Relationship Id="rId2" Type="http://schemas.openxmlformats.org/officeDocument/2006/relationships/tags" Target="../tags/tag88.xml"/><Relationship Id="rId1" Type="http://schemas.openxmlformats.org/officeDocument/2006/relationships/vmlDrawing" Target="../drawings/vmlDrawing12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91.xml"/><Relationship Id="rId4" Type="http://schemas.openxmlformats.org/officeDocument/2006/relationships/tags" Target="../tags/tag90.xml"/><Relationship Id="rId9" Type="http://schemas.openxmlformats.org/officeDocument/2006/relationships/image" Target="../media/image6.png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93.xml"/><Relationship Id="rId7" Type="http://schemas.openxmlformats.org/officeDocument/2006/relationships/oleObject" Target="../embeddings/oleObject13.bin"/><Relationship Id="rId2" Type="http://schemas.openxmlformats.org/officeDocument/2006/relationships/tags" Target="../tags/tag92.xml"/><Relationship Id="rId1" Type="http://schemas.openxmlformats.org/officeDocument/2006/relationships/vmlDrawing" Target="../drawings/vmlDrawing13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95.xml"/><Relationship Id="rId4" Type="http://schemas.openxmlformats.org/officeDocument/2006/relationships/tags" Target="../tags/tag94.xml"/><Relationship Id="rId9" Type="http://schemas.openxmlformats.org/officeDocument/2006/relationships/image" Target="../media/image6.png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97.xml"/><Relationship Id="rId7" Type="http://schemas.openxmlformats.org/officeDocument/2006/relationships/oleObject" Target="../embeddings/oleObject14.bin"/><Relationship Id="rId2" Type="http://schemas.openxmlformats.org/officeDocument/2006/relationships/tags" Target="../tags/tag96.xml"/><Relationship Id="rId1" Type="http://schemas.openxmlformats.org/officeDocument/2006/relationships/vmlDrawing" Target="../drawings/vmlDrawing14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99.xml"/><Relationship Id="rId4" Type="http://schemas.openxmlformats.org/officeDocument/2006/relationships/tags" Target="../tags/tag98.xml"/><Relationship Id="rId9" Type="http://schemas.openxmlformats.org/officeDocument/2006/relationships/image" Target="../media/image6.pn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101.xml"/><Relationship Id="rId7" Type="http://schemas.openxmlformats.org/officeDocument/2006/relationships/oleObject" Target="../embeddings/oleObject15.bin"/><Relationship Id="rId2" Type="http://schemas.openxmlformats.org/officeDocument/2006/relationships/tags" Target="../tags/tag100.xml"/><Relationship Id="rId1" Type="http://schemas.openxmlformats.org/officeDocument/2006/relationships/vmlDrawing" Target="../drawings/vmlDrawing15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103.xml"/><Relationship Id="rId4" Type="http://schemas.openxmlformats.org/officeDocument/2006/relationships/tags" Target="../tags/tag102.xml"/><Relationship Id="rId9" Type="http://schemas.openxmlformats.org/officeDocument/2006/relationships/image" Target="../media/image6.png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105.xml"/><Relationship Id="rId7" Type="http://schemas.openxmlformats.org/officeDocument/2006/relationships/oleObject" Target="../embeddings/oleObject16.bin"/><Relationship Id="rId2" Type="http://schemas.openxmlformats.org/officeDocument/2006/relationships/tags" Target="../tags/tag104.xml"/><Relationship Id="rId1" Type="http://schemas.openxmlformats.org/officeDocument/2006/relationships/vmlDrawing" Target="../drawings/vmlDrawing16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107.xml"/><Relationship Id="rId4" Type="http://schemas.openxmlformats.org/officeDocument/2006/relationships/tags" Target="../tags/tag106.xml"/><Relationship Id="rId9" Type="http://schemas.openxmlformats.org/officeDocument/2006/relationships/image" Target="../media/image6.png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109.xml"/><Relationship Id="rId7" Type="http://schemas.openxmlformats.org/officeDocument/2006/relationships/oleObject" Target="../embeddings/oleObject17.bin"/><Relationship Id="rId2" Type="http://schemas.openxmlformats.org/officeDocument/2006/relationships/tags" Target="../tags/tag108.xml"/><Relationship Id="rId1" Type="http://schemas.openxmlformats.org/officeDocument/2006/relationships/vmlDrawing" Target="../drawings/vmlDrawing17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111.xml"/><Relationship Id="rId4" Type="http://schemas.openxmlformats.org/officeDocument/2006/relationships/tags" Target="../tags/tag110.xml"/><Relationship Id="rId9" Type="http://schemas.openxmlformats.org/officeDocument/2006/relationships/image" Target="../media/image6.png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113.xml"/><Relationship Id="rId7" Type="http://schemas.openxmlformats.org/officeDocument/2006/relationships/oleObject" Target="../embeddings/oleObject18.bin"/><Relationship Id="rId2" Type="http://schemas.openxmlformats.org/officeDocument/2006/relationships/tags" Target="../tags/tag112.xml"/><Relationship Id="rId1" Type="http://schemas.openxmlformats.org/officeDocument/2006/relationships/vmlDrawing" Target="../drawings/vmlDrawing18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115.xml"/><Relationship Id="rId4" Type="http://schemas.openxmlformats.org/officeDocument/2006/relationships/tags" Target="../tags/tag114.xml"/><Relationship Id="rId9" Type="http://schemas.openxmlformats.org/officeDocument/2006/relationships/image" Target="../media/image6.png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117.xml"/><Relationship Id="rId7" Type="http://schemas.openxmlformats.org/officeDocument/2006/relationships/oleObject" Target="../embeddings/oleObject19.bin"/><Relationship Id="rId2" Type="http://schemas.openxmlformats.org/officeDocument/2006/relationships/tags" Target="../tags/tag116.xml"/><Relationship Id="rId1" Type="http://schemas.openxmlformats.org/officeDocument/2006/relationships/vmlDrawing" Target="../drawings/vmlDrawing19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119.xml"/><Relationship Id="rId4" Type="http://schemas.openxmlformats.org/officeDocument/2006/relationships/tags" Target="../tags/tag118.xml"/><Relationship Id="rId9" Type="http://schemas.openxmlformats.org/officeDocument/2006/relationships/image" Target="../media/image6.png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121.xml"/><Relationship Id="rId7" Type="http://schemas.openxmlformats.org/officeDocument/2006/relationships/oleObject" Target="../embeddings/oleObject20.bin"/><Relationship Id="rId2" Type="http://schemas.openxmlformats.org/officeDocument/2006/relationships/tags" Target="../tags/tag120.xml"/><Relationship Id="rId1" Type="http://schemas.openxmlformats.org/officeDocument/2006/relationships/vmlDrawing" Target="../drawings/vmlDrawing20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123.xml"/><Relationship Id="rId4" Type="http://schemas.openxmlformats.org/officeDocument/2006/relationships/tags" Target="../tags/tag122.xml"/><Relationship Id="rId9" Type="http://schemas.openxmlformats.org/officeDocument/2006/relationships/image" Target="../media/image6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125.xml"/><Relationship Id="rId7" Type="http://schemas.openxmlformats.org/officeDocument/2006/relationships/oleObject" Target="../embeddings/oleObject21.bin"/><Relationship Id="rId2" Type="http://schemas.openxmlformats.org/officeDocument/2006/relationships/tags" Target="../tags/tag124.xml"/><Relationship Id="rId1" Type="http://schemas.openxmlformats.org/officeDocument/2006/relationships/vmlDrawing" Target="../drawings/vmlDrawing21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127.xml"/><Relationship Id="rId4" Type="http://schemas.openxmlformats.org/officeDocument/2006/relationships/tags" Target="../tags/tag126.xml"/><Relationship Id="rId9" Type="http://schemas.openxmlformats.org/officeDocument/2006/relationships/image" Target="../media/image6.png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129.xml"/><Relationship Id="rId7" Type="http://schemas.openxmlformats.org/officeDocument/2006/relationships/oleObject" Target="../embeddings/oleObject22.bin"/><Relationship Id="rId2" Type="http://schemas.openxmlformats.org/officeDocument/2006/relationships/tags" Target="../tags/tag128.xml"/><Relationship Id="rId1" Type="http://schemas.openxmlformats.org/officeDocument/2006/relationships/vmlDrawing" Target="../drawings/vmlDrawing22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131.xml"/><Relationship Id="rId4" Type="http://schemas.openxmlformats.org/officeDocument/2006/relationships/tags" Target="../tags/tag130.xml"/><Relationship Id="rId9" Type="http://schemas.openxmlformats.org/officeDocument/2006/relationships/image" Target="../media/image6.png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5.emf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3.xml"/><Relationship Id="rId1" Type="http://schemas.openxmlformats.org/officeDocument/2006/relationships/tags" Target="../tags/tag132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tags" Target="../tags/tag7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141.xml"/><Relationship Id="rId7" Type="http://schemas.openxmlformats.org/officeDocument/2006/relationships/oleObject" Target="../embeddings/oleObject24.bin"/><Relationship Id="rId2" Type="http://schemas.openxmlformats.org/officeDocument/2006/relationships/tags" Target="../tags/tag140.xml"/><Relationship Id="rId1" Type="http://schemas.openxmlformats.org/officeDocument/2006/relationships/vmlDrawing" Target="../drawings/vmlDrawing24.vml"/><Relationship Id="rId6" Type="http://schemas.openxmlformats.org/officeDocument/2006/relationships/slideMaster" Target="../slideMasters/slideMaster6.xml"/><Relationship Id="rId5" Type="http://schemas.openxmlformats.org/officeDocument/2006/relationships/tags" Target="../tags/tag143.xml"/><Relationship Id="rId4" Type="http://schemas.openxmlformats.org/officeDocument/2006/relationships/tags" Target="../tags/tag142.xml"/><Relationship Id="rId9" Type="http://schemas.openxmlformats.org/officeDocument/2006/relationships/image" Target="../media/image6.png"/></Relationships>
</file>

<file path=ppt/slideLayouts/_rels/slideLayout7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145.xml"/><Relationship Id="rId7" Type="http://schemas.openxmlformats.org/officeDocument/2006/relationships/oleObject" Target="../embeddings/oleObject25.bin"/><Relationship Id="rId2" Type="http://schemas.openxmlformats.org/officeDocument/2006/relationships/tags" Target="../tags/tag144.xml"/><Relationship Id="rId1" Type="http://schemas.openxmlformats.org/officeDocument/2006/relationships/vmlDrawing" Target="../drawings/vmlDrawing25.vml"/><Relationship Id="rId6" Type="http://schemas.openxmlformats.org/officeDocument/2006/relationships/slideMaster" Target="../slideMasters/slideMaster6.xml"/><Relationship Id="rId5" Type="http://schemas.openxmlformats.org/officeDocument/2006/relationships/tags" Target="../tags/tag147.xml"/><Relationship Id="rId4" Type="http://schemas.openxmlformats.org/officeDocument/2006/relationships/tags" Target="../tags/tag146.xml"/><Relationship Id="rId9" Type="http://schemas.openxmlformats.org/officeDocument/2006/relationships/image" Target="../media/image6.png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tags" Target="../tags/tag149.xml"/><Relationship Id="rId7" Type="http://schemas.openxmlformats.org/officeDocument/2006/relationships/image" Target="../media/image6.png"/><Relationship Id="rId2" Type="http://schemas.openxmlformats.org/officeDocument/2006/relationships/tags" Target="../tags/tag148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5.jpeg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6.xml"/></Relationships>
</file>

<file path=ppt/slideLayouts/_rels/slideLayout7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151.xml"/><Relationship Id="rId7" Type="http://schemas.openxmlformats.org/officeDocument/2006/relationships/oleObject" Target="../embeddings/oleObject27.bin"/><Relationship Id="rId2" Type="http://schemas.openxmlformats.org/officeDocument/2006/relationships/tags" Target="../tags/tag150.xml"/><Relationship Id="rId1" Type="http://schemas.openxmlformats.org/officeDocument/2006/relationships/vmlDrawing" Target="../drawings/vmlDrawing27.vml"/><Relationship Id="rId6" Type="http://schemas.openxmlformats.org/officeDocument/2006/relationships/slideMaster" Target="../slideMasters/slideMaster6.xml"/><Relationship Id="rId5" Type="http://schemas.openxmlformats.org/officeDocument/2006/relationships/tags" Target="../tags/tag153.xml"/><Relationship Id="rId4" Type="http://schemas.openxmlformats.org/officeDocument/2006/relationships/tags" Target="../tags/tag152.xml"/><Relationship Id="rId9" Type="http://schemas.openxmlformats.org/officeDocument/2006/relationships/image" Target="../media/image6.png"/></Relationships>
</file>

<file path=ppt/slideLayouts/_rels/slideLayout7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155.xml"/><Relationship Id="rId7" Type="http://schemas.openxmlformats.org/officeDocument/2006/relationships/oleObject" Target="../embeddings/oleObject28.bin"/><Relationship Id="rId2" Type="http://schemas.openxmlformats.org/officeDocument/2006/relationships/tags" Target="../tags/tag154.xml"/><Relationship Id="rId1" Type="http://schemas.openxmlformats.org/officeDocument/2006/relationships/vmlDrawing" Target="../drawings/vmlDrawing28.vml"/><Relationship Id="rId6" Type="http://schemas.openxmlformats.org/officeDocument/2006/relationships/slideMaster" Target="../slideMasters/slideMaster6.xml"/><Relationship Id="rId5" Type="http://schemas.openxmlformats.org/officeDocument/2006/relationships/tags" Target="../tags/tag157.xml"/><Relationship Id="rId4" Type="http://schemas.openxmlformats.org/officeDocument/2006/relationships/tags" Target="../tags/tag156.xml"/><Relationship Id="rId9" Type="http://schemas.openxmlformats.org/officeDocument/2006/relationships/image" Target="../media/image6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tags" Target="../tags/tag9.xml"/></Relationships>
</file>

<file path=ppt/slideLayouts/_rels/slideLayout8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159.xml"/><Relationship Id="rId7" Type="http://schemas.openxmlformats.org/officeDocument/2006/relationships/oleObject" Target="../embeddings/oleObject29.bin"/><Relationship Id="rId2" Type="http://schemas.openxmlformats.org/officeDocument/2006/relationships/tags" Target="../tags/tag158.xml"/><Relationship Id="rId1" Type="http://schemas.openxmlformats.org/officeDocument/2006/relationships/vmlDrawing" Target="../drawings/vmlDrawing29.vml"/><Relationship Id="rId6" Type="http://schemas.openxmlformats.org/officeDocument/2006/relationships/slideMaster" Target="../slideMasters/slideMaster6.xml"/><Relationship Id="rId5" Type="http://schemas.openxmlformats.org/officeDocument/2006/relationships/tags" Target="../tags/tag161.xml"/><Relationship Id="rId4" Type="http://schemas.openxmlformats.org/officeDocument/2006/relationships/tags" Target="../tags/tag160.xml"/><Relationship Id="rId9" Type="http://schemas.openxmlformats.org/officeDocument/2006/relationships/image" Target="../media/image6.png"/></Relationships>
</file>

<file path=ppt/slideLayouts/_rels/slideLayout8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163.xml"/><Relationship Id="rId7" Type="http://schemas.openxmlformats.org/officeDocument/2006/relationships/oleObject" Target="../embeddings/oleObject30.bin"/><Relationship Id="rId2" Type="http://schemas.openxmlformats.org/officeDocument/2006/relationships/tags" Target="../tags/tag162.xml"/><Relationship Id="rId1" Type="http://schemas.openxmlformats.org/officeDocument/2006/relationships/vmlDrawing" Target="../drawings/vmlDrawing30.vml"/><Relationship Id="rId6" Type="http://schemas.openxmlformats.org/officeDocument/2006/relationships/slideMaster" Target="../slideMasters/slideMaster6.xml"/><Relationship Id="rId5" Type="http://schemas.openxmlformats.org/officeDocument/2006/relationships/tags" Target="../tags/tag165.xml"/><Relationship Id="rId4" Type="http://schemas.openxmlformats.org/officeDocument/2006/relationships/tags" Target="../tags/tag164.xml"/><Relationship Id="rId9" Type="http://schemas.openxmlformats.org/officeDocument/2006/relationships/image" Target="../media/image6.png"/></Relationships>
</file>

<file path=ppt/slideLayouts/_rels/slideLayout8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167.xml"/><Relationship Id="rId7" Type="http://schemas.openxmlformats.org/officeDocument/2006/relationships/oleObject" Target="../embeddings/oleObject31.bin"/><Relationship Id="rId2" Type="http://schemas.openxmlformats.org/officeDocument/2006/relationships/tags" Target="../tags/tag166.xml"/><Relationship Id="rId1" Type="http://schemas.openxmlformats.org/officeDocument/2006/relationships/vmlDrawing" Target="../drawings/vmlDrawing31.vml"/><Relationship Id="rId6" Type="http://schemas.openxmlformats.org/officeDocument/2006/relationships/slideMaster" Target="../slideMasters/slideMaster6.xml"/><Relationship Id="rId5" Type="http://schemas.openxmlformats.org/officeDocument/2006/relationships/tags" Target="../tags/tag169.xml"/><Relationship Id="rId4" Type="http://schemas.openxmlformats.org/officeDocument/2006/relationships/tags" Target="../tags/tag168.xml"/><Relationship Id="rId9" Type="http://schemas.openxmlformats.org/officeDocument/2006/relationships/image" Target="../media/image6.png"/></Relationships>
</file>

<file path=ppt/slideLayouts/_rels/slideLayout8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171.xml"/><Relationship Id="rId7" Type="http://schemas.openxmlformats.org/officeDocument/2006/relationships/oleObject" Target="../embeddings/oleObject32.bin"/><Relationship Id="rId2" Type="http://schemas.openxmlformats.org/officeDocument/2006/relationships/tags" Target="../tags/tag170.xml"/><Relationship Id="rId1" Type="http://schemas.openxmlformats.org/officeDocument/2006/relationships/vmlDrawing" Target="../drawings/vmlDrawing32.vml"/><Relationship Id="rId6" Type="http://schemas.openxmlformats.org/officeDocument/2006/relationships/slideMaster" Target="../slideMasters/slideMaster6.xml"/><Relationship Id="rId5" Type="http://schemas.openxmlformats.org/officeDocument/2006/relationships/tags" Target="../tags/tag173.xml"/><Relationship Id="rId4" Type="http://schemas.openxmlformats.org/officeDocument/2006/relationships/tags" Target="../tags/tag172.xml"/><Relationship Id="rId9" Type="http://schemas.openxmlformats.org/officeDocument/2006/relationships/image" Target="../media/image6.png"/></Relationships>
</file>

<file path=ppt/slideLayouts/_rels/slideLayout8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175.xml"/><Relationship Id="rId7" Type="http://schemas.openxmlformats.org/officeDocument/2006/relationships/oleObject" Target="../embeddings/oleObject33.bin"/><Relationship Id="rId2" Type="http://schemas.openxmlformats.org/officeDocument/2006/relationships/tags" Target="../tags/tag174.xml"/><Relationship Id="rId1" Type="http://schemas.openxmlformats.org/officeDocument/2006/relationships/vmlDrawing" Target="../drawings/vmlDrawing33.vml"/><Relationship Id="rId6" Type="http://schemas.openxmlformats.org/officeDocument/2006/relationships/slideMaster" Target="../slideMasters/slideMaster6.xml"/><Relationship Id="rId5" Type="http://schemas.openxmlformats.org/officeDocument/2006/relationships/tags" Target="../tags/tag177.xml"/><Relationship Id="rId4" Type="http://schemas.openxmlformats.org/officeDocument/2006/relationships/tags" Target="../tags/tag176.xml"/><Relationship Id="rId9" Type="http://schemas.openxmlformats.org/officeDocument/2006/relationships/image" Target="../media/image6.png"/></Relationships>
</file>

<file path=ppt/slideLayouts/_rels/slideLayout8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179.xml"/><Relationship Id="rId7" Type="http://schemas.openxmlformats.org/officeDocument/2006/relationships/oleObject" Target="../embeddings/oleObject34.bin"/><Relationship Id="rId2" Type="http://schemas.openxmlformats.org/officeDocument/2006/relationships/tags" Target="../tags/tag178.xml"/><Relationship Id="rId1" Type="http://schemas.openxmlformats.org/officeDocument/2006/relationships/vmlDrawing" Target="../drawings/vmlDrawing34.vml"/><Relationship Id="rId6" Type="http://schemas.openxmlformats.org/officeDocument/2006/relationships/slideMaster" Target="../slideMasters/slideMaster6.xml"/><Relationship Id="rId5" Type="http://schemas.openxmlformats.org/officeDocument/2006/relationships/tags" Target="../tags/tag181.xml"/><Relationship Id="rId4" Type="http://schemas.openxmlformats.org/officeDocument/2006/relationships/tags" Target="../tags/tag180.xml"/><Relationship Id="rId9" Type="http://schemas.openxmlformats.org/officeDocument/2006/relationships/image" Target="../media/image6.png"/></Relationships>
</file>

<file path=ppt/slideLayouts/_rels/slideLayout8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183.xml"/><Relationship Id="rId7" Type="http://schemas.openxmlformats.org/officeDocument/2006/relationships/oleObject" Target="../embeddings/oleObject35.bin"/><Relationship Id="rId2" Type="http://schemas.openxmlformats.org/officeDocument/2006/relationships/tags" Target="../tags/tag182.xml"/><Relationship Id="rId1" Type="http://schemas.openxmlformats.org/officeDocument/2006/relationships/vmlDrawing" Target="../drawings/vmlDrawing35.vml"/><Relationship Id="rId6" Type="http://schemas.openxmlformats.org/officeDocument/2006/relationships/slideMaster" Target="../slideMasters/slideMaster6.xml"/><Relationship Id="rId5" Type="http://schemas.openxmlformats.org/officeDocument/2006/relationships/tags" Target="../tags/tag185.xml"/><Relationship Id="rId4" Type="http://schemas.openxmlformats.org/officeDocument/2006/relationships/tags" Target="../tags/tag184.xml"/><Relationship Id="rId9" Type="http://schemas.openxmlformats.org/officeDocument/2006/relationships/image" Target="../media/image6.png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6.xml"/></Relationships>
</file>

<file path=ppt/slideLayouts/_rels/slideLayout8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187.xml"/><Relationship Id="rId7" Type="http://schemas.openxmlformats.org/officeDocument/2006/relationships/oleObject" Target="../embeddings/oleObject36.bin"/><Relationship Id="rId2" Type="http://schemas.openxmlformats.org/officeDocument/2006/relationships/tags" Target="../tags/tag186.xml"/><Relationship Id="rId1" Type="http://schemas.openxmlformats.org/officeDocument/2006/relationships/vmlDrawing" Target="../drawings/vmlDrawing36.vml"/><Relationship Id="rId6" Type="http://schemas.openxmlformats.org/officeDocument/2006/relationships/slideMaster" Target="../slideMasters/slideMaster6.xml"/><Relationship Id="rId5" Type="http://schemas.openxmlformats.org/officeDocument/2006/relationships/tags" Target="../tags/tag189.xml"/><Relationship Id="rId4" Type="http://schemas.openxmlformats.org/officeDocument/2006/relationships/tags" Target="../tags/tag188.xml"/><Relationship Id="rId9" Type="http://schemas.openxmlformats.org/officeDocument/2006/relationships/image" Target="../media/image6.png"/></Relationships>
</file>

<file path=ppt/slideLayouts/_rels/slideLayout8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191.xml"/><Relationship Id="rId7" Type="http://schemas.openxmlformats.org/officeDocument/2006/relationships/oleObject" Target="../embeddings/oleObject37.bin"/><Relationship Id="rId2" Type="http://schemas.openxmlformats.org/officeDocument/2006/relationships/tags" Target="../tags/tag190.xml"/><Relationship Id="rId1" Type="http://schemas.openxmlformats.org/officeDocument/2006/relationships/vmlDrawing" Target="../drawings/vmlDrawing37.vml"/><Relationship Id="rId6" Type="http://schemas.openxmlformats.org/officeDocument/2006/relationships/slideMaster" Target="../slideMasters/slideMaster6.xml"/><Relationship Id="rId5" Type="http://schemas.openxmlformats.org/officeDocument/2006/relationships/tags" Target="../tags/tag193.xml"/><Relationship Id="rId4" Type="http://schemas.openxmlformats.org/officeDocument/2006/relationships/tags" Target="../tags/tag192.xml"/><Relationship Id="rId9" Type="http://schemas.openxmlformats.org/officeDocument/2006/relationships/image" Target="../media/image6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tags" Target="../tags/tag11.xml"/></Relationships>
</file>

<file path=ppt/slideLayouts/_rels/slideLayout9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195.xml"/><Relationship Id="rId7" Type="http://schemas.openxmlformats.org/officeDocument/2006/relationships/oleObject" Target="../embeddings/oleObject38.bin"/><Relationship Id="rId2" Type="http://schemas.openxmlformats.org/officeDocument/2006/relationships/tags" Target="../tags/tag194.xml"/><Relationship Id="rId1" Type="http://schemas.openxmlformats.org/officeDocument/2006/relationships/vmlDrawing" Target="../drawings/vmlDrawing38.vml"/><Relationship Id="rId6" Type="http://schemas.openxmlformats.org/officeDocument/2006/relationships/slideMaster" Target="../slideMasters/slideMaster6.xml"/><Relationship Id="rId5" Type="http://schemas.openxmlformats.org/officeDocument/2006/relationships/tags" Target="../tags/tag197.xml"/><Relationship Id="rId4" Type="http://schemas.openxmlformats.org/officeDocument/2006/relationships/tags" Target="../tags/tag196.xml"/><Relationship Id="rId9" Type="http://schemas.openxmlformats.org/officeDocument/2006/relationships/image" Target="../media/image6.png"/></Relationships>
</file>

<file path=ppt/slideLayouts/_rels/slideLayout9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199.xml"/><Relationship Id="rId7" Type="http://schemas.openxmlformats.org/officeDocument/2006/relationships/oleObject" Target="../embeddings/oleObject39.bin"/><Relationship Id="rId2" Type="http://schemas.openxmlformats.org/officeDocument/2006/relationships/tags" Target="../tags/tag198.xml"/><Relationship Id="rId1" Type="http://schemas.openxmlformats.org/officeDocument/2006/relationships/vmlDrawing" Target="../drawings/vmlDrawing39.vml"/><Relationship Id="rId6" Type="http://schemas.openxmlformats.org/officeDocument/2006/relationships/slideMaster" Target="../slideMasters/slideMaster6.xml"/><Relationship Id="rId5" Type="http://schemas.openxmlformats.org/officeDocument/2006/relationships/tags" Target="../tags/tag201.xml"/><Relationship Id="rId4" Type="http://schemas.openxmlformats.org/officeDocument/2006/relationships/tags" Target="../tags/tag200.xml"/><Relationship Id="rId9" Type="http://schemas.openxmlformats.org/officeDocument/2006/relationships/image" Target="../media/image6.png"/></Relationships>
</file>

<file path=ppt/slideLayouts/_rels/slideLayout9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203.xml"/><Relationship Id="rId7" Type="http://schemas.openxmlformats.org/officeDocument/2006/relationships/oleObject" Target="../embeddings/oleObject40.bin"/><Relationship Id="rId2" Type="http://schemas.openxmlformats.org/officeDocument/2006/relationships/tags" Target="../tags/tag202.xml"/><Relationship Id="rId1" Type="http://schemas.openxmlformats.org/officeDocument/2006/relationships/vmlDrawing" Target="../drawings/vmlDrawing40.vml"/><Relationship Id="rId6" Type="http://schemas.openxmlformats.org/officeDocument/2006/relationships/slideMaster" Target="../slideMasters/slideMaster6.xml"/><Relationship Id="rId5" Type="http://schemas.openxmlformats.org/officeDocument/2006/relationships/tags" Target="../tags/tag205.xml"/><Relationship Id="rId4" Type="http://schemas.openxmlformats.org/officeDocument/2006/relationships/tags" Target="../tags/tag204.xml"/><Relationship Id="rId9" Type="http://schemas.openxmlformats.org/officeDocument/2006/relationships/image" Target="../media/image6.png"/></Relationships>
</file>

<file path=ppt/slideLayouts/_rels/slideLayout9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207.xml"/><Relationship Id="rId7" Type="http://schemas.openxmlformats.org/officeDocument/2006/relationships/oleObject" Target="../embeddings/oleObject41.bin"/><Relationship Id="rId2" Type="http://schemas.openxmlformats.org/officeDocument/2006/relationships/tags" Target="../tags/tag206.xml"/><Relationship Id="rId1" Type="http://schemas.openxmlformats.org/officeDocument/2006/relationships/vmlDrawing" Target="../drawings/vmlDrawing41.vml"/><Relationship Id="rId6" Type="http://schemas.openxmlformats.org/officeDocument/2006/relationships/slideMaster" Target="../slideMasters/slideMaster6.xml"/><Relationship Id="rId5" Type="http://schemas.openxmlformats.org/officeDocument/2006/relationships/tags" Target="../tags/tag209.xml"/><Relationship Id="rId4" Type="http://schemas.openxmlformats.org/officeDocument/2006/relationships/tags" Target="../tags/tag208.xml"/><Relationship Id="rId9" Type="http://schemas.openxmlformats.org/officeDocument/2006/relationships/image" Target="../media/image6.png"/></Relationships>
</file>

<file path=ppt/slideLayouts/_rels/slideLayout9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211.xml"/><Relationship Id="rId7" Type="http://schemas.openxmlformats.org/officeDocument/2006/relationships/oleObject" Target="../embeddings/oleObject42.bin"/><Relationship Id="rId2" Type="http://schemas.openxmlformats.org/officeDocument/2006/relationships/tags" Target="../tags/tag210.xml"/><Relationship Id="rId1" Type="http://schemas.openxmlformats.org/officeDocument/2006/relationships/vmlDrawing" Target="../drawings/vmlDrawing42.vml"/><Relationship Id="rId6" Type="http://schemas.openxmlformats.org/officeDocument/2006/relationships/slideMaster" Target="../slideMasters/slideMaster6.xml"/><Relationship Id="rId5" Type="http://schemas.openxmlformats.org/officeDocument/2006/relationships/tags" Target="../tags/tag213.xml"/><Relationship Id="rId4" Type="http://schemas.openxmlformats.org/officeDocument/2006/relationships/tags" Target="../tags/tag212.xml"/><Relationship Id="rId9" Type="http://schemas.openxmlformats.org/officeDocument/2006/relationships/image" Target="../media/image6.png"/></Relationships>
</file>

<file path=ppt/slideLayouts/_rels/slideLayout9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tags" Target="../tags/tag215.xml"/><Relationship Id="rId7" Type="http://schemas.openxmlformats.org/officeDocument/2006/relationships/oleObject" Target="../embeddings/oleObject43.bin"/><Relationship Id="rId2" Type="http://schemas.openxmlformats.org/officeDocument/2006/relationships/tags" Target="../tags/tag214.xml"/><Relationship Id="rId1" Type="http://schemas.openxmlformats.org/officeDocument/2006/relationships/vmlDrawing" Target="../drawings/vmlDrawing43.vml"/><Relationship Id="rId6" Type="http://schemas.openxmlformats.org/officeDocument/2006/relationships/slideMaster" Target="../slideMasters/slideMaster6.xml"/><Relationship Id="rId5" Type="http://schemas.openxmlformats.org/officeDocument/2006/relationships/tags" Target="../tags/tag217.xml"/><Relationship Id="rId4" Type="http://schemas.openxmlformats.org/officeDocument/2006/relationships/tags" Target="../tags/tag216.xml"/><Relationship Id="rId9" Type="http://schemas.openxmlformats.org/officeDocument/2006/relationships/image" Target="../media/image6.png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6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6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7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685800" y="2125980"/>
            <a:ext cx="7772400" cy="14401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0"/>
            <a:ext cx="64008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pPr/>
              <a:t>8/8/2019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900" b="0" i="0">
                <a:solidFill>
                  <a:srgbClr val="003399"/>
                </a:solidFill>
                <a:latin typeface="Century Gothic"/>
                <a:cs typeface="Century Gothic"/>
              </a:defRPr>
            </a:lvl1pPr>
          </a:lstStyle>
          <a:p>
            <a:pPr marL="25400">
              <a:lnSpc>
                <a:spcPct val="100000"/>
              </a:lnSpc>
              <a:spcBef>
                <a:spcPts val="105"/>
              </a:spcBef>
            </a:pPr>
            <a:fld id="{81D60167-4931-47E6-BA6A-407CBD079E47}" type="slidenum">
              <a:rPr dirty="0"/>
              <a:pPr marL="25400">
                <a:lnSpc>
                  <a:spcPct val="100000"/>
                </a:lnSpc>
                <a:spcBef>
                  <a:spcPts val="105"/>
                </a:spcBef>
              </a:pPr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/>
              <a:t>Game Changer Presentation</a:t>
            </a:r>
            <a:endParaRPr lang="en-GB" dirty="0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569239416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9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6105" name="think-cell Slide" r:id="rId7" imgW="270" imgH="270" progId="">
              <p:embed/>
            </p:oleObj>
          </a:graphicData>
        </a:graphic>
      </p:graphicFrame>
      <p:pic>
        <p:nvPicPr>
          <p:cNvPr id="5" name="Picture 8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739775"/>
            <a:ext cx="9144000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6">
            <a:extLst/>
          </p:cNvPr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2060575" y="6467475"/>
            <a:ext cx="1944688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0" b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sz="800">
                <a:solidFill>
                  <a:srgbClr val="998F8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© Western Cape Government 2012  |</a:t>
            </a:r>
            <a:endParaRPr lang="en-GB" sz="800">
              <a:solidFill>
                <a:srgbClr val="998F86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107" descr="C:\Users\Conny\Desktop\WCG\WCG - Logo\PNG\Logos blue\WCG - Logo - General - Blue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4638" y="6148388"/>
            <a:ext cx="1108075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Slide Number Placeholder 5">
            <a:extLst/>
          </p:cNvPr>
          <p:cNvSpPr>
            <a:spLocks noGrp="1"/>
          </p:cNvSpPr>
          <p:nvPr>
            <p:ph type="sldNum" sz="quarter" idx="11"/>
            <p:custDataLst>
              <p:tags r:id="rId4"/>
            </p:custDataLst>
          </p:nvPr>
        </p:nvSpPr>
        <p:spPr/>
        <p:txBody>
          <a:bodyPr/>
          <a:lstStyle>
            <a:lvl1pPr algn="r" defTabSz="4572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3399"/>
                </a:solidFill>
                <a:latin typeface="Century Gothic" pitchFamily="34" charset="0"/>
                <a:cs typeface="+mn-cs"/>
              </a:defRPr>
            </a:lvl1pPr>
          </a:lstStyle>
          <a:p>
            <a:pPr>
              <a:defRPr/>
            </a:pPr>
            <a:fld id="{8DEAA631-51E6-459F-AFA3-EA0D00D3D638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9" name="Footer Placeholder 4">
            <a:extLst/>
          </p:cNvPr>
          <p:cNvSpPr>
            <a:spLocks noGrp="1"/>
          </p:cNvSpPr>
          <p:nvPr>
            <p:ph type="ftr" sz="quarter" idx="12"/>
            <p:custDataLst>
              <p:tags r:id="rId5"/>
            </p:custDataLst>
          </p:nvPr>
        </p:nvSpPr>
        <p:spPr/>
        <p:txBody>
          <a:bodyPr/>
          <a:lstStyle>
            <a:lvl1pPr algn="l" defTabSz="4572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rgbClr val="998F86"/>
                </a:solidFill>
                <a:latin typeface="Arial" panose="020B0604020202020204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ZA"/>
              <a:t>Stocktak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137889976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9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7129" name="think-cell Slide" r:id="rId7" imgW="270" imgH="270" progId="">
              <p:embed/>
            </p:oleObj>
          </a:graphicData>
        </a:graphic>
      </p:graphicFrame>
      <p:pic>
        <p:nvPicPr>
          <p:cNvPr id="6" name="Picture 8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739775"/>
            <a:ext cx="9144000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6">
            <a:extLst/>
          </p:cNvPr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2060575" y="6467475"/>
            <a:ext cx="1944688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0" b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sz="800">
                <a:solidFill>
                  <a:srgbClr val="998F8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© Western Cape Government 2012  |</a:t>
            </a:r>
            <a:endParaRPr lang="en-GB" sz="800">
              <a:solidFill>
                <a:srgbClr val="998F86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107" descr="C:\Users\Conny\Desktop\WCG\WCG - Logo\PNG\Logos blue\WCG - Logo - General - Blue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4638" y="6148388"/>
            <a:ext cx="1108075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Slide Number Placeholder 5">
            <a:extLst/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>
            <a:lvl1pPr algn="r" defTabSz="4572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3399"/>
                </a:solidFill>
                <a:latin typeface="Century Gothic" pitchFamily="34" charset="0"/>
                <a:cs typeface="+mn-cs"/>
              </a:defRPr>
            </a:lvl1pPr>
          </a:lstStyle>
          <a:p>
            <a:pPr>
              <a:defRPr/>
            </a:pPr>
            <a:fld id="{35A67F11-4CDB-4780-8F18-3E2154CE6640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10" name="Footer Placeholder 4">
            <a:extLst/>
          </p:cNvPr>
          <p:cNvSpPr>
            <a:spLocks noGrp="1"/>
          </p:cNvSpPr>
          <p:nvPr>
            <p:ph type="ftr" sz="quarter" idx="13"/>
            <p:custDataLst>
              <p:tags r:id="rId5"/>
            </p:custDataLst>
          </p:nvPr>
        </p:nvSpPr>
        <p:spPr/>
        <p:txBody>
          <a:bodyPr/>
          <a:lstStyle>
            <a:lvl1pPr algn="l" defTabSz="4572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rgbClr val="998F86"/>
                </a:solidFill>
                <a:latin typeface="Arial" panose="020B0604020202020204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ZA"/>
              <a:t>Stocktak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226345552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9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8153" name="think-cell Slide" r:id="rId5" imgW="270" imgH="270" progId="">
              <p:embed/>
            </p:oleObj>
          </a:graphicData>
        </a:graphic>
      </p:graphicFrame>
      <p:pic>
        <p:nvPicPr>
          <p:cNvPr id="4" name="Picture 8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739775"/>
            <a:ext cx="9144000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07" descr="C:\Users\Conny\Desktop\WCG\WCG - Logo\PNG\Logos blue\WCG - Logo - General - Blue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4638" y="6148388"/>
            <a:ext cx="1108075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6" name="Slide Number Placeholder 5">
            <a:extLst/>
          </p:cNvPr>
          <p:cNvSpPr>
            <a:spLocks noGrp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 algn="r" defTabSz="4572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3399"/>
                </a:solidFill>
                <a:latin typeface="Century Gothic" pitchFamily="34" charset="0"/>
                <a:cs typeface="+mn-cs"/>
              </a:defRPr>
            </a:lvl1pPr>
          </a:lstStyle>
          <a:p>
            <a:pPr>
              <a:defRPr/>
            </a:pPr>
            <a:fld id="{2D86AA23-B5D9-4E98-9F2F-2614BEB8D4C8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3724037623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9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9177" name="think-cell Slide" r:id="rId7" imgW="270" imgH="270" progId="">
              <p:embed/>
            </p:oleObj>
          </a:graphicData>
        </a:graphic>
      </p:graphicFrame>
      <p:pic>
        <p:nvPicPr>
          <p:cNvPr id="7" name="Picture 8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739775"/>
            <a:ext cx="9144000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6">
            <a:extLst/>
          </p:cNvPr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2060575" y="6467475"/>
            <a:ext cx="1944688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0" b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sz="800">
                <a:solidFill>
                  <a:srgbClr val="998F8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© Western Cape Government 2012  |</a:t>
            </a:r>
            <a:endParaRPr lang="en-GB" sz="800">
              <a:solidFill>
                <a:srgbClr val="998F86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Picture 107" descr="C:\Users\Conny\Desktop\WCG\WCG - Logo\PNG\Logos blue\WCG - Logo - General - Blue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4638" y="6148388"/>
            <a:ext cx="1108075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Slide Number Placeholder 5">
            <a:extLst/>
          </p:cNvPr>
          <p:cNvSpPr>
            <a:spLocks noGrp="1"/>
          </p:cNvSpPr>
          <p:nvPr>
            <p:ph type="sldNum" sz="quarter" idx="14"/>
            <p:custDataLst>
              <p:tags r:id="rId4"/>
            </p:custDataLst>
          </p:nvPr>
        </p:nvSpPr>
        <p:spPr/>
        <p:txBody>
          <a:bodyPr/>
          <a:lstStyle>
            <a:lvl1pPr algn="r" defTabSz="4572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3399"/>
                </a:solidFill>
                <a:latin typeface="Century Gothic" pitchFamily="34" charset="0"/>
                <a:cs typeface="+mn-cs"/>
              </a:defRPr>
            </a:lvl1pPr>
          </a:lstStyle>
          <a:p>
            <a:pPr>
              <a:defRPr/>
            </a:pPr>
            <a:fld id="{1211D06D-87AF-4D6E-9A3E-48BB6014B996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12" name="Footer Placeholder 4">
            <a:extLst/>
          </p:cNvPr>
          <p:cNvSpPr>
            <a:spLocks noGrp="1"/>
          </p:cNvSpPr>
          <p:nvPr>
            <p:ph type="ftr" sz="quarter" idx="15"/>
            <p:custDataLst>
              <p:tags r:id="rId5"/>
            </p:custDataLst>
          </p:nvPr>
        </p:nvSpPr>
        <p:spPr/>
        <p:txBody>
          <a:bodyPr/>
          <a:lstStyle>
            <a:lvl1pPr algn="l" defTabSz="4572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rgbClr val="998F86"/>
                </a:solidFill>
                <a:latin typeface="Arial" panose="020B0604020202020204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ZA"/>
              <a:t>Stocktak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41680257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9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0201" name="think-cell Slide" r:id="rId7" imgW="270" imgH="270" progId="">
              <p:embed/>
            </p:oleObj>
          </a:graphicData>
        </a:graphic>
      </p:graphicFrame>
      <p:pic>
        <p:nvPicPr>
          <p:cNvPr id="7" name="Picture 8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739775"/>
            <a:ext cx="9144000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6">
            <a:extLst/>
          </p:cNvPr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2060575" y="6467475"/>
            <a:ext cx="1944688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0" b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sz="800">
                <a:solidFill>
                  <a:srgbClr val="998F8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© Western Cape Government 2012  |</a:t>
            </a:r>
            <a:endParaRPr lang="en-GB" sz="800">
              <a:solidFill>
                <a:srgbClr val="998F86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Picture 107" descr="C:\Users\Conny\Desktop\WCG\WCG - Logo\PNG\Logos blue\WCG - Logo - General - Blue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4638" y="6148388"/>
            <a:ext cx="1108075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Slide Number Placeholder 5">
            <a:extLst/>
          </p:cNvPr>
          <p:cNvSpPr>
            <a:spLocks noGrp="1"/>
          </p:cNvSpPr>
          <p:nvPr>
            <p:ph type="sldNum" sz="quarter" idx="16"/>
            <p:custDataLst>
              <p:tags r:id="rId4"/>
            </p:custDataLst>
          </p:nvPr>
        </p:nvSpPr>
        <p:spPr/>
        <p:txBody>
          <a:bodyPr/>
          <a:lstStyle>
            <a:lvl1pPr algn="r" defTabSz="4572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3399"/>
                </a:solidFill>
                <a:latin typeface="Century Gothic" pitchFamily="34" charset="0"/>
                <a:cs typeface="+mn-cs"/>
              </a:defRPr>
            </a:lvl1pPr>
          </a:lstStyle>
          <a:p>
            <a:pPr>
              <a:defRPr/>
            </a:pPr>
            <a:fld id="{45E64442-02C6-467D-8FCA-D45D52ADDD9C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11" name="Footer Placeholder 4">
            <a:extLst/>
          </p:cNvPr>
          <p:cNvSpPr>
            <a:spLocks noGrp="1"/>
          </p:cNvSpPr>
          <p:nvPr>
            <p:ph type="ftr" sz="quarter" idx="17"/>
            <p:custDataLst>
              <p:tags r:id="rId5"/>
            </p:custDataLst>
          </p:nvPr>
        </p:nvSpPr>
        <p:spPr/>
        <p:txBody>
          <a:bodyPr/>
          <a:lstStyle>
            <a:lvl1pPr algn="l" defTabSz="4572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rgbClr val="998F86"/>
                </a:solidFill>
                <a:latin typeface="Arial" panose="020B0604020202020204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ZA"/>
              <a:t>Stocktak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055921636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9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1225" name="think-cell Slide" r:id="rId7" imgW="270" imgH="270" progId="">
              <p:embed/>
            </p:oleObj>
          </a:graphicData>
        </a:graphic>
      </p:graphicFrame>
      <p:pic>
        <p:nvPicPr>
          <p:cNvPr id="6" name="Picture 8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739775"/>
            <a:ext cx="9144000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6">
            <a:extLst/>
          </p:cNvPr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2060575" y="6467475"/>
            <a:ext cx="1944688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0" b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sz="800">
                <a:solidFill>
                  <a:srgbClr val="998F8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© Western Cape Government 2012  |</a:t>
            </a:r>
            <a:endParaRPr lang="en-GB" sz="800">
              <a:solidFill>
                <a:srgbClr val="998F86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107" descr="C:\Users\Conny\Desktop\WCG\WCG - Logo\PNG\Logos blue\WCG - Logo - General - Blue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4638" y="6148388"/>
            <a:ext cx="1108075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5">
            <a:extLst/>
          </p:cNvPr>
          <p:cNvSpPr>
            <a:spLocks noGrp="1"/>
          </p:cNvSpPr>
          <p:nvPr>
            <p:ph type="sldNum" sz="quarter" idx="14"/>
            <p:custDataLst>
              <p:tags r:id="rId4"/>
            </p:custDataLst>
          </p:nvPr>
        </p:nvSpPr>
        <p:spPr/>
        <p:txBody>
          <a:bodyPr/>
          <a:lstStyle>
            <a:lvl1pPr algn="r" defTabSz="4572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3399"/>
                </a:solidFill>
                <a:latin typeface="Century Gothic" pitchFamily="34" charset="0"/>
                <a:cs typeface="+mn-cs"/>
              </a:defRPr>
            </a:lvl1pPr>
          </a:lstStyle>
          <a:p>
            <a:pPr>
              <a:defRPr/>
            </a:pPr>
            <a:fld id="{EC025429-584E-43DB-AB00-56A85A9100A6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10" name="Footer Placeholder 4">
            <a:extLst/>
          </p:cNvPr>
          <p:cNvSpPr>
            <a:spLocks noGrp="1"/>
          </p:cNvSpPr>
          <p:nvPr>
            <p:ph type="ftr" sz="quarter" idx="15"/>
            <p:custDataLst>
              <p:tags r:id="rId5"/>
            </p:custDataLst>
          </p:nvPr>
        </p:nvSpPr>
        <p:spPr/>
        <p:txBody>
          <a:bodyPr/>
          <a:lstStyle>
            <a:lvl1pPr algn="l" defTabSz="4572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rgbClr val="998F86"/>
                </a:solidFill>
                <a:latin typeface="Arial" panose="020B0604020202020204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ZA"/>
              <a:t>Stocktak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823735532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9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2249" name="think-cell Slide" r:id="rId7" imgW="270" imgH="270" progId="">
              <p:embed/>
            </p:oleObj>
          </a:graphicData>
        </a:graphic>
      </p:graphicFrame>
      <p:pic>
        <p:nvPicPr>
          <p:cNvPr id="7" name="Picture 8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739775"/>
            <a:ext cx="9144000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6">
            <a:extLst/>
          </p:cNvPr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2060575" y="6467475"/>
            <a:ext cx="1944688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0" b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sz="800">
                <a:solidFill>
                  <a:srgbClr val="998F8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© Western Cape Government 2012  |</a:t>
            </a:r>
            <a:endParaRPr lang="en-GB" sz="800">
              <a:solidFill>
                <a:srgbClr val="998F86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Picture 107" descr="C:\Users\Conny\Desktop\WCG\WCG - Logo\PNG\Logos blue\WCG - Logo - General - Blue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4638" y="6148388"/>
            <a:ext cx="1108075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Slide Number Placeholder 5">
            <a:extLst/>
          </p:cNvPr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>
            <a:lvl1pPr algn="r" defTabSz="4572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3399"/>
                </a:solidFill>
                <a:latin typeface="Century Gothic" pitchFamily="34" charset="0"/>
                <a:cs typeface="+mn-cs"/>
              </a:defRPr>
            </a:lvl1pPr>
          </a:lstStyle>
          <a:p>
            <a:pPr>
              <a:defRPr/>
            </a:pPr>
            <a:fld id="{64EF7A64-9267-4537-B730-D8607EF12F58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12" name="Footer Placeholder 4">
            <a:extLst/>
          </p:cNvPr>
          <p:cNvSpPr>
            <a:spLocks noGrp="1"/>
          </p:cNvSpPr>
          <p:nvPr>
            <p:ph type="ftr" sz="quarter" idx="13"/>
            <p:custDataLst>
              <p:tags r:id="rId5"/>
            </p:custDataLst>
          </p:nvPr>
        </p:nvSpPr>
        <p:spPr/>
        <p:txBody>
          <a:bodyPr/>
          <a:lstStyle>
            <a:lvl1pPr algn="l" defTabSz="4572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rgbClr val="998F86"/>
                </a:solidFill>
                <a:latin typeface="Arial" panose="020B0604020202020204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ZA"/>
              <a:t>Stocktak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854152901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9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3273" name="think-cell Slide" r:id="rId7" imgW="270" imgH="270" progId="">
              <p:embed/>
            </p:oleObj>
          </a:graphicData>
        </a:graphic>
      </p:graphicFrame>
      <p:pic>
        <p:nvPicPr>
          <p:cNvPr id="7" name="Picture 8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739775"/>
            <a:ext cx="9144000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6">
            <a:extLst/>
          </p:cNvPr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2060575" y="6467475"/>
            <a:ext cx="1944688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0" b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sz="800">
                <a:solidFill>
                  <a:srgbClr val="998F8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© Western Cape Government 2012  |</a:t>
            </a:r>
            <a:endParaRPr lang="en-GB" sz="800">
              <a:solidFill>
                <a:srgbClr val="998F86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Picture 107" descr="C:\Users\Conny\Desktop\WCG\WCG - Logo\PNG\Logos blue\WCG - Logo - General - Blue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4638" y="6148388"/>
            <a:ext cx="1108075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Slide Number Placeholder 5">
            <a:extLst/>
          </p:cNvPr>
          <p:cNvSpPr>
            <a:spLocks noGrp="1"/>
          </p:cNvSpPr>
          <p:nvPr>
            <p:ph type="sldNum" sz="quarter" idx="14"/>
            <p:custDataLst>
              <p:tags r:id="rId4"/>
            </p:custDataLst>
          </p:nvPr>
        </p:nvSpPr>
        <p:spPr/>
        <p:txBody>
          <a:bodyPr/>
          <a:lstStyle>
            <a:lvl1pPr algn="r" defTabSz="4572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3399"/>
                </a:solidFill>
                <a:latin typeface="Century Gothic" pitchFamily="34" charset="0"/>
                <a:cs typeface="+mn-cs"/>
              </a:defRPr>
            </a:lvl1pPr>
          </a:lstStyle>
          <a:p>
            <a:pPr>
              <a:defRPr/>
            </a:pPr>
            <a:fld id="{56AE3ACE-5F7A-4FF8-B071-90591609DFEA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13" name="Footer Placeholder 4">
            <a:extLst/>
          </p:cNvPr>
          <p:cNvSpPr>
            <a:spLocks noGrp="1"/>
          </p:cNvSpPr>
          <p:nvPr>
            <p:ph type="ftr" sz="quarter" idx="15"/>
            <p:custDataLst>
              <p:tags r:id="rId5"/>
            </p:custDataLst>
          </p:nvPr>
        </p:nvSpPr>
        <p:spPr/>
        <p:txBody>
          <a:bodyPr/>
          <a:lstStyle>
            <a:lvl1pPr algn="l" defTabSz="4572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rgbClr val="998F86"/>
                </a:solidFill>
                <a:latin typeface="Arial" panose="020B0604020202020204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ZA"/>
              <a:t>Stocktak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099678843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9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4297" name="think-cell Slide" r:id="rId7" imgW="270" imgH="270" progId="">
              <p:embed/>
            </p:oleObj>
          </a:graphicData>
        </a:graphic>
      </p:graphicFrame>
      <p:pic>
        <p:nvPicPr>
          <p:cNvPr id="5" name="Picture 8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739775"/>
            <a:ext cx="9144000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6">
            <a:extLst/>
          </p:cNvPr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2060575" y="6467475"/>
            <a:ext cx="1944688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0" b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sz="800">
                <a:solidFill>
                  <a:srgbClr val="998F8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© Western Cape Government 2012  |</a:t>
            </a:r>
            <a:endParaRPr lang="en-GB" sz="800">
              <a:solidFill>
                <a:srgbClr val="998F86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107" descr="C:\Users\Conny\Desktop\WCG\WCG - Logo\PNG\Logos blue\WCG - Logo - General - Blue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4638" y="6148388"/>
            <a:ext cx="1108075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5">
            <a:extLst/>
          </p:cNvPr>
          <p:cNvSpPr>
            <a:spLocks noGrp="1"/>
          </p:cNvSpPr>
          <p:nvPr>
            <p:ph type="sldNum" sz="quarter" idx="11"/>
            <p:custDataLst>
              <p:tags r:id="rId4"/>
            </p:custDataLst>
          </p:nvPr>
        </p:nvSpPr>
        <p:spPr/>
        <p:txBody>
          <a:bodyPr/>
          <a:lstStyle>
            <a:lvl1pPr algn="r" defTabSz="4572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3399"/>
                </a:solidFill>
                <a:latin typeface="Century Gothic" pitchFamily="34" charset="0"/>
                <a:cs typeface="+mn-cs"/>
              </a:defRPr>
            </a:lvl1pPr>
          </a:lstStyle>
          <a:p>
            <a:pPr>
              <a:defRPr/>
            </a:pPr>
            <a:fld id="{A415AE5A-4B0C-4A61-8720-DDB61A24D82D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10" name="Footer Placeholder 4">
            <a:extLst/>
          </p:cNvPr>
          <p:cNvSpPr>
            <a:spLocks noGrp="1"/>
          </p:cNvSpPr>
          <p:nvPr>
            <p:ph type="ftr" sz="quarter" idx="12"/>
            <p:custDataLst>
              <p:tags r:id="rId5"/>
            </p:custDataLst>
          </p:nvPr>
        </p:nvSpPr>
        <p:spPr/>
        <p:txBody>
          <a:bodyPr/>
          <a:lstStyle>
            <a:lvl1pPr algn="l" defTabSz="4572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rgbClr val="998F86"/>
                </a:solidFill>
                <a:latin typeface="Arial" panose="020B0604020202020204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ZA"/>
              <a:t>Stocktak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249649467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9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5321" name="think-cell Slide" r:id="rId7" imgW="270" imgH="270" progId="">
              <p:embed/>
            </p:oleObj>
          </a:graphicData>
        </a:graphic>
      </p:graphicFrame>
      <p:pic>
        <p:nvPicPr>
          <p:cNvPr id="7" name="Picture 8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739775"/>
            <a:ext cx="9144000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6">
            <a:extLst/>
          </p:cNvPr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2060575" y="6467475"/>
            <a:ext cx="1944688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0" b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sz="800">
                <a:solidFill>
                  <a:srgbClr val="998F8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© Western Cape Government 2012  |</a:t>
            </a:r>
            <a:endParaRPr lang="en-GB" sz="800">
              <a:solidFill>
                <a:srgbClr val="998F86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Picture 107" descr="C:\Users\Conny\Desktop\WCG\WCG - Logo\PNG\Logos blue\WCG - Logo - General - Blue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4638" y="6148388"/>
            <a:ext cx="1108075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Slide Number Placeholder 5">
            <a:extLst/>
          </p:cNvPr>
          <p:cNvSpPr>
            <a:spLocks noGrp="1"/>
          </p:cNvSpPr>
          <p:nvPr>
            <p:ph type="sldNum" sz="quarter" idx="15"/>
            <p:custDataLst>
              <p:tags r:id="rId4"/>
            </p:custDataLst>
          </p:nvPr>
        </p:nvSpPr>
        <p:spPr/>
        <p:txBody>
          <a:bodyPr/>
          <a:lstStyle>
            <a:lvl1pPr algn="r" defTabSz="4572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3399"/>
                </a:solidFill>
                <a:latin typeface="Century Gothic" pitchFamily="34" charset="0"/>
                <a:cs typeface="+mn-cs"/>
              </a:defRPr>
            </a:lvl1pPr>
          </a:lstStyle>
          <a:p>
            <a:pPr>
              <a:defRPr/>
            </a:pPr>
            <a:fld id="{70A2E5E7-99C0-450C-9FA7-A644827F958A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14" name="Footer Placeholder 4">
            <a:extLst/>
          </p:cNvPr>
          <p:cNvSpPr>
            <a:spLocks noGrp="1"/>
          </p:cNvSpPr>
          <p:nvPr>
            <p:ph type="ftr" sz="quarter" idx="16"/>
            <p:custDataLst>
              <p:tags r:id="rId5"/>
            </p:custDataLst>
          </p:nvPr>
        </p:nvSpPr>
        <p:spPr/>
        <p:txBody>
          <a:bodyPr/>
          <a:lstStyle>
            <a:lvl1pPr algn="l" defTabSz="4572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rgbClr val="998F86"/>
                </a:solidFill>
                <a:latin typeface="Arial" panose="020B0604020202020204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ZA"/>
              <a:t>Stocktak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80049831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/>
              <a:t>Game Changer Presentation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626334109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9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6345" name="think-cell Slide" r:id="rId7" imgW="270" imgH="270" progId="">
              <p:embed/>
            </p:oleObj>
          </a:graphicData>
        </a:graphic>
      </p:graphicFrame>
      <p:pic>
        <p:nvPicPr>
          <p:cNvPr id="8" name="Picture 8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739775"/>
            <a:ext cx="9144000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6">
            <a:extLst/>
          </p:cNvPr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2060575" y="6467475"/>
            <a:ext cx="1944688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0" b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sz="800">
                <a:solidFill>
                  <a:srgbClr val="998F8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© Western Cape Government 2012  |</a:t>
            </a:r>
            <a:endParaRPr lang="en-GB" sz="800">
              <a:solidFill>
                <a:srgbClr val="998F86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Picture 107" descr="C:\Users\Conny\Desktop\WCG\WCG - Logo\PNG\Logos blue\WCG - Logo - General - Blue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4638" y="6148388"/>
            <a:ext cx="1108075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Slide Number Placeholder 5">
            <a:extLst/>
          </p:cNvPr>
          <p:cNvSpPr>
            <a:spLocks noGrp="1"/>
          </p:cNvSpPr>
          <p:nvPr>
            <p:ph type="sldNum" sz="quarter" idx="16"/>
            <p:custDataLst>
              <p:tags r:id="rId4"/>
            </p:custDataLst>
          </p:nvPr>
        </p:nvSpPr>
        <p:spPr/>
        <p:txBody>
          <a:bodyPr/>
          <a:lstStyle>
            <a:lvl1pPr algn="r" defTabSz="4572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3399"/>
                </a:solidFill>
                <a:latin typeface="Century Gothic" pitchFamily="34" charset="0"/>
                <a:cs typeface="+mn-cs"/>
              </a:defRPr>
            </a:lvl1pPr>
          </a:lstStyle>
          <a:p>
            <a:pPr>
              <a:defRPr/>
            </a:pPr>
            <a:fld id="{832AB240-A083-4CF3-BBA3-66DC717CD954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14" name="Footer Placeholder 4">
            <a:extLst/>
          </p:cNvPr>
          <p:cNvSpPr>
            <a:spLocks noGrp="1"/>
          </p:cNvSpPr>
          <p:nvPr>
            <p:ph type="ftr" sz="quarter" idx="17"/>
            <p:custDataLst>
              <p:tags r:id="rId5"/>
            </p:custDataLst>
          </p:nvPr>
        </p:nvSpPr>
        <p:spPr/>
        <p:txBody>
          <a:bodyPr/>
          <a:lstStyle>
            <a:lvl1pPr algn="l" defTabSz="4572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rgbClr val="998F86"/>
                </a:solidFill>
                <a:latin typeface="Arial" panose="020B0604020202020204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ZA"/>
              <a:t>Stocktak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272987571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9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7369" name="think-cell Slide" r:id="rId7" imgW="270" imgH="270" progId="">
              <p:embed/>
            </p:oleObj>
          </a:graphicData>
        </a:graphic>
      </p:graphicFrame>
      <p:pic>
        <p:nvPicPr>
          <p:cNvPr id="6" name="Picture 8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739775"/>
            <a:ext cx="9144000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6">
            <a:extLst/>
          </p:cNvPr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2060575" y="6467475"/>
            <a:ext cx="1944688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0" b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sz="800">
                <a:solidFill>
                  <a:srgbClr val="998F8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© Western Cape Government 2012  |</a:t>
            </a:r>
            <a:endParaRPr lang="en-GB" sz="800">
              <a:solidFill>
                <a:srgbClr val="998F86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107" descr="C:\Users\Conny\Desktop\WCG\WCG - Logo\PNG\Logos blue\WCG - Logo - General - Blue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4638" y="6148388"/>
            <a:ext cx="1108075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Slide Number Placeholder 5">
            <a:extLst/>
          </p:cNvPr>
          <p:cNvSpPr>
            <a:spLocks noGrp="1"/>
          </p:cNvSpPr>
          <p:nvPr>
            <p:ph type="sldNum" sz="quarter" idx="14"/>
            <p:custDataLst>
              <p:tags r:id="rId4"/>
            </p:custDataLst>
          </p:nvPr>
        </p:nvSpPr>
        <p:spPr/>
        <p:txBody>
          <a:bodyPr/>
          <a:lstStyle>
            <a:lvl1pPr algn="r" defTabSz="4572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3399"/>
                </a:solidFill>
                <a:latin typeface="Century Gothic" pitchFamily="34" charset="0"/>
                <a:cs typeface="+mn-cs"/>
              </a:defRPr>
            </a:lvl1pPr>
          </a:lstStyle>
          <a:p>
            <a:pPr>
              <a:defRPr/>
            </a:pPr>
            <a:fld id="{6143CCBF-D824-4EB5-99DB-AD41781F10B1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12" name="Footer Placeholder 4">
            <a:extLst/>
          </p:cNvPr>
          <p:cNvSpPr>
            <a:spLocks noGrp="1"/>
          </p:cNvSpPr>
          <p:nvPr>
            <p:ph type="ftr" sz="quarter" idx="15"/>
            <p:custDataLst>
              <p:tags r:id="rId5"/>
            </p:custDataLst>
          </p:nvPr>
        </p:nvSpPr>
        <p:spPr/>
        <p:txBody>
          <a:bodyPr/>
          <a:lstStyle>
            <a:lvl1pPr algn="l" defTabSz="4572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rgbClr val="998F86"/>
                </a:solidFill>
                <a:latin typeface="Arial" panose="020B0604020202020204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ZA"/>
              <a:t>Stocktak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961494337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7150" y="5516563"/>
            <a:ext cx="9086850" cy="17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107" descr="C:\Users\Conny\Desktop\WCG\WCG - Logo\PNG\Logos blue\WCG - Logo - General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4638" y="6148388"/>
            <a:ext cx="1108075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5679084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9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8393" name="think-cell Slide" r:id="rId7" imgW="270" imgH="270" progId="">
              <p:embed/>
            </p:oleObj>
          </a:graphicData>
        </a:graphic>
      </p:graphicFrame>
      <p:pic>
        <p:nvPicPr>
          <p:cNvPr id="7" name="Picture 8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739775"/>
            <a:ext cx="9144000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6">
            <a:extLst/>
          </p:cNvPr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2060575" y="6467475"/>
            <a:ext cx="1944688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0" b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sz="800">
                <a:solidFill>
                  <a:srgbClr val="998F8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© Western Cape Government 2012  |</a:t>
            </a:r>
            <a:endParaRPr lang="en-GB" sz="800">
              <a:solidFill>
                <a:srgbClr val="998F86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Picture 107" descr="C:\Users\Conny\Desktop\WCG\WCG - Logo\PNG\Logos blue\WCG - Logo - General - Blue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4638" y="6148388"/>
            <a:ext cx="1108075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Slide Number Placeholder 5">
            <a:extLst/>
          </p:cNvPr>
          <p:cNvSpPr>
            <a:spLocks noGrp="1"/>
          </p:cNvSpPr>
          <p:nvPr>
            <p:ph type="sldNum" sz="quarter" idx="16"/>
            <p:custDataLst>
              <p:tags r:id="rId4"/>
            </p:custDataLst>
          </p:nvPr>
        </p:nvSpPr>
        <p:spPr/>
        <p:txBody>
          <a:bodyPr/>
          <a:lstStyle>
            <a:lvl1pPr algn="r" defTabSz="4572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3399"/>
                </a:solidFill>
                <a:latin typeface="Century Gothic" pitchFamily="34" charset="0"/>
                <a:cs typeface="+mn-cs"/>
              </a:defRPr>
            </a:lvl1pPr>
          </a:lstStyle>
          <a:p>
            <a:pPr>
              <a:defRPr/>
            </a:pPr>
            <a:fld id="{59EE08EE-9919-46C8-B331-88797DA6EA0B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12" name="Footer Placeholder 4">
            <a:extLst/>
          </p:cNvPr>
          <p:cNvSpPr>
            <a:spLocks noGrp="1"/>
          </p:cNvSpPr>
          <p:nvPr>
            <p:ph type="ftr" sz="quarter" idx="17"/>
            <p:custDataLst>
              <p:tags r:id="rId5"/>
            </p:custDataLst>
          </p:nvPr>
        </p:nvSpPr>
        <p:spPr/>
        <p:txBody>
          <a:bodyPr/>
          <a:lstStyle>
            <a:lvl1pPr algn="l" defTabSz="4572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rgbClr val="998F86"/>
                </a:solidFill>
                <a:latin typeface="Arial" panose="020B0604020202020204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ZA"/>
              <a:t>Stocktak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958909888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9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59417" name="think-cell Slide" r:id="rId7" imgW="270" imgH="270" progId="">
              <p:embed/>
            </p:oleObj>
          </a:graphicData>
        </a:graphic>
      </p:graphicFrame>
      <p:pic>
        <p:nvPicPr>
          <p:cNvPr id="7" name="Picture 8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739775"/>
            <a:ext cx="9144000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6">
            <a:extLst/>
          </p:cNvPr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2060575" y="6467475"/>
            <a:ext cx="1944688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0" b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sz="800">
                <a:solidFill>
                  <a:srgbClr val="998F8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© Western Cape Government 2012  |</a:t>
            </a:r>
            <a:endParaRPr lang="en-GB" sz="800">
              <a:solidFill>
                <a:srgbClr val="998F86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Picture 107" descr="C:\Users\Conny\Desktop\WCG\WCG - Logo\PNG\Logos blue\WCG - Logo - General - Blue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4638" y="6148388"/>
            <a:ext cx="1108075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Slide Number Placeholder 5">
            <a:extLst/>
          </p:cNvPr>
          <p:cNvSpPr>
            <a:spLocks noGrp="1"/>
          </p:cNvSpPr>
          <p:nvPr>
            <p:ph type="sldNum" sz="quarter" idx="16"/>
            <p:custDataLst>
              <p:tags r:id="rId4"/>
            </p:custDataLst>
          </p:nvPr>
        </p:nvSpPr>
        <p:spPr/>
        <p:txBody>
          <a:bodyPr/>
          <a:lstStyle>
            <a:lvl1pPr algn="r" defTabSz="4572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3399"/>
                </a:solidFill>
                <a:latin typeface="Century Gothic" pitchFamily="34" charset="0"/>
                <a:cs typeface="+mn-cs"/>
              </a:defRPr>
            </a:lvl1pPr>
          </a:lstStyle>
          <a:p>
            <a:pPr>
              <a:defRPr/>
            </a:pPr>
            <a:fld id="{7F4A769C-013B-4BB5-9B30-C92E062E9341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12" name="Footer Placeholder 4">
            <a:extLst/>
          </p:cNvPr>
          <p:cNvSpPr>
            <a:spLocks noGrp="1"/>
          </p:cNvSpPr>
          <p:nvPr>
            <p:ph type="ftr" sz="quarter" idx="17"/>
            <p:custDataLst>
              <p:tags r:id="rId5"/>
            </p:custDataLst>
          </p:nvPr>
        </p:nvSpPr>
        <p:spPr/>
        <p:txBody>
          <a:bodyPr/>
          <a:lstStyle>
            <a:lvl1pPr algn="l" defTabSz="4572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rgbClr val="998F86"/>
                </a:solidFill>
                <a:latin typeface="Arial" panose="020B0604020202020204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ZA"/>
              <a:t>Stocktak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676696609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9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0441" name="think-cell Slide" r:id="rId7" imgW="270" imgH="270" progId="">
              <p:embed/>
            </p:oleObj>
          </a:graphicData>
        </a:graphic>
      </p:graphicFrame>
      <p:pic>
        <p:nvPicPr>
          <p:cNvPr id="8" name="Picture 8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739775"/>
            <a:ext cx="9144000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6">
            <a:extLst/>
          </p:cNvPr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2060575" y="6467475"/>
            <a:ext cx="1944688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0" b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sz="800">
                <a:solidFill>
                  <a:srgbClr val="998F8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© Western Cape Government 2012  |</a:t>
            </a:r>
            <a:endParaRPr lang="en-GB" sz="800">
              <a:solidFill>
                <a:srgbClr val="998F86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Picture 107" descr="C:\Users\Conny\Desktop\WCG\WCG - Logo\PNG\Logos blue\WCG - Logo - General - Blue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4638" y="6148388"/>
            <a:ext cx="1108075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Slide Number Placeholder 5">
            <a:extLst/>
          </p:cNvPr>
          <p:cNvSpPr>
            <a:spLocks noGrp="1"/>
          </p:cNvSpPr>
          <p:nvPr>
            <p:ph type="sldNum" sz="quarter" idx="17"/>
            <p:custDataLst>
              <p:tags r:id="rId4"/>
            </p:custDataLst>
          </p:nvPr>
        </p:nvSpPr>
        <p:spPr/>
        <p:txBody>
          <a:bodyPr/>
          <a:lstStyle>
            <a:lvl1pPr algn="r" defTabSz="4572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3399"/>
                </a:solidFill>
                <a:latin typeface="Century Gothic" pitchFamily="34" charset="0"/>
                <a:cs typeface="+mn-cs"/>
              </a:defRPr>
            </a:lvl1pPr>
          </a:lstStyle>
          <a:p>
            <a:pPr>
              <a:defRPr/>
            </a:pPr>
            <a:fld id="{D00DBE42-C9B0-463C-95AA-8874A56E34F6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16" name="Footer Placeholder 4">
            <a:extLst/>
          </p:cNvPr>
          <p:cNvSpPr>
            <a:spLocks noGrp="1"/>
          </p:cNvSpPr>
          <p:nvPr>
            <p:ph type="ftr" sz="quarter" idx="18"/>
            <p:custDataLst>
              <p:tags r:id="rId5"/>
            </p:custDataLst>
          </p:nvPr>
        </p:nvSpPr>
        <p:spPr/>
        <p:txBody>
          <a:bodyPr/>
          <a:lstStyle>
            <a:lvl1pPr algn="l" defTabSz="4572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rgbClr val="998F86"/>
                </a:solidFill>
                <a:latin typeface="Arial" panose="020B0604020202020204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ZA"/>
              <a:t>Stocktak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954927382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9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1465" name="think-cell Slide" r:id="rId7" imgW="270" imgH="270" progId="">
              <p:embed/>
            </p:oleObj>
          </a:graphicData>
        </a:graphic>
      </p:graphicFrame>
      <p:pic>
        <p:nvPicPr>
          <p:cNvPr id="8" name="Picture 8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739775"/>
            <a:ext cx="9144000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6">
            <a:extLst/>
          </p:cNvPr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2060575" y="6467475"/>
            <a:ext cx="1944688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0" b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sz="800">
                <a:solidFill>
                  <a:srgbClr val="998F8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© Western Cape Government 2012  |</a:t>
            </a:r>
            <a:endParaRPr lang="en-GB" sz="800">
              <a:solidFill>
                <a:srgbClr val="998F86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Picture 107" descr="C:\Users\Conny\Desktop\WCG\WCG - Logo\PNG\Logos blue\WCG - Logo - General - Blue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4638" y="6148388"/>
            <a:ext cx="1108075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Slide Number Placeholder 5">
            <a:extLst/>
          </p:cNvPr>
          <p:cNvSpPr>
            <a:spLocks noGrp="1"/>
          </p:cNvSpPr>
          <p:nvPr>
            <p:ph type="sldNum" sz="quarter" idx="17"/>
            <p:custDataLst>
              <p:tags r:id="rId4"/>
            </p:custDataLst>
          </p:nvPr>
        </p:nvSpPr>
        <p:spPr/>
        <p:txBody>
          <a:bodyPr/>
          <a:lstStyle>
            <a:lvl1pPr algn="r" defTabSz="4572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3399"/>
                </a:solidFill>
                <a:latin typeface="Century Gothic" pitchFamily="34" charset="0"/>
                <a:cs typeface="+mn-cs"/>
              </a:defRPr>
            </a:lvl1pPr>
          </a:lstStyle>
          <a:p>
            <a:pPr>
              <a:defRPr/>
            </a:pPr>
            <a:fld id="{7358A019-B5B2-4486-85E5-CECBEDE154F6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16" name="Footer Placeholder 4">
            <a:extLst/>
          </p:cNvPr>
          <p:cNvSpPr>
            <a:spLocks noGrp="1"/>
          </p:cNvSpPr>
          <p:nvPr>
            <p:ph type="ftr" sz="quarter" idx="18"/>
            <p:custDataLst>
              <p:tags r:id="rId5"/>
            </p:custDataLst>
          </p:nvPr>
        </p:nvSpPr>
        <p:spPr/>
        <p:txBody>
          <a:bodyPr/>
          <a:lstStyle>
            <a:lvl1pPr algn="l" defTabSz="4572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rgbClr val="998F86"/>
                </a:solidFill>
                <a:latin typeface="Arial" panose="020B0604020202020204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ZA"/>
              <a:t>Stocktak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266218660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9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2489" name="think-cell Slide" r:id="rId7" imgW="270" imgH="270" progId="">
              <p:embed/>
            </p:oleObj>
          </a:graphicData>
        </a:graphic>
      </p:graphicFrame>
      <p:pic>
        <p:nvPicPr>
          <p:cNvPr id="9" name="Picture 10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739775"/>
            <a:ext cx="9144000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6">
            <a:extLst/>
          </p:cNvPr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2060575" y="6467475"/>
            <a:ext cx="1944688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0" b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sz="800">
                <a:solidFill>
                  <a:srgbClr val="998F8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© Western Cape Government 2012  |</a:t>
            </a:r>
            <a:endParaRPr lang="en-GB" sz="800">
              <a:solidFill>
                <a:srgbClr val="998F86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Picture 107" descr="C:\Users\Conny\Desktop\WCG\WCG - Logo\PNG\Logos blue\WCG - Logo - General - Blue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4638" y="6148388"/>
            <a:ext cx="1108075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Slide Number Placeholder 5">
            <a:extLst/>
          </p:cNvPr>
          <p:cNvSpPr>
            <a:spLocks noGrp="1"/>
          </p:cNvSpPr>
          <p:nvPr>
            <p:ph type="sldNum" sz="quarter" idx="18"/>
            <p:custDataLst>
              <p:tags r:id="rId4"/>
            </p:custDataLst>
          </p:nvPr>
        </p:nvSpPr>
        <p:spPr/>
        <p:txBody>
          <a:bodyPr/>
          <a:lstStyle>
            <a:lvl1pPr algn="r" defTabSz="4572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3399"/>
                </a:solidFill>
                <a:latin typeface="Century Gothic" pitchFamily="34" charset="0"/>
                <a:cs typeface="+mn-cs"/>
              </a:defRPr>
            </a:lvl1pPr>
          </a:lstStyle>
          <a:p>
            <a:pPr>
              <a:defRPr/>
            </a:pPr>
            <a:fld id="{8378BD3B-9E65-4C4C-954D-4D93A55FD388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15" name="Footer Placeholder 4">
            <a:extLst/>
          </p:cNvPr>
          <p:cNvSpPr>
            <a:spLocks noGrp="1"/>
          </p:cNvSpPr>
          <p:nvPr>
            <p:ph type="ftr" sz="quarter" idx="19"/>
            <p:custDataLst>
              <p:tags r:id="rId5"/>
            </p:custDataLst>
          </p:nvPr>
        </p:nvSpPr>
        <p:spPr/>
        <p:txBody>
          <a:bodyPr/>
          <a:lstStyle>
            <a:lvl1pPr algn="l" defTabSz="4572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rgbClr val="998F86"/>
                </a:solidFill>
                <a:latin typeface="Arial" panose="020B0604020202020204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ZA"/>
              <a:t>Stocktak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738628737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9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3513" name="think-cell Slide" r:id="rId7" imgW="270" imgH="270" progId="">
              <p:embed/>
            </p:oleObj>
          </a:graphicData>
        </a:graphic>
      </p:graphicFrame>
      <p:pic>
        <p:nvPicPr>
          <p:cNvPr id="9" name="Picture 10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739775"/>
            <a:ext cx="9144000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6">
            <a:extLst/>
          </p:cNvPr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2060575" y="6467475"/>
            <a:ext cx="1944688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0" b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sz="800">
                <a:solidFill>
                  <a:srgbClr val="998F8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© Western Cape Government 2012  |</a:t>
            </a:r>
            <a:endParaRPr lang="en-GB" sz="800">
              <a:solidFill>
                <a:srgbClr val="998F86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Picture 107" descr="C:\Users\Conny\Desktop\WCG\WCG - Logo\PNG\Logos blue\WCG - Logo - General - Blue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4638" y="6148388"/>
            <a:ext cx="1108075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Slide Number Placeholder 5">
            <a:extLst/>
          </p:cNvPr>
          <p:cNvSpPr>
            <a:spLocks noGrp="1"/>
          </p:cNvSpPr>
          <p:nvPr>
            <p:ph type="sldNum" sz="quarter" idx="18"/>
            <p:custDataLst>
              <p:tags r:id="rId4"/>
            </p:custDataLst>
          </p:nvPr>
        </p:nvSpPr>
        <p:spPr/>
        <p:txBody>
          <a:bodyPr/>
          <a:lstStyle>
            <a:lvl1pPr algn="r" defTabSz="4572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3399"/>
                </a:solidFill>
                <a:latin typeface="Century Gothic" pitchFamily="34" charset="0"/>
                <a:cs typeface="+mn-cs"/>
              </a:defRPr>
            </a:lvl1pPr>
          </a:lstStyle>
          <a:p>
            <a:pPr>
              <a:defRPr/>
            </a:pPr>
            <a:fld id="{DE5E60D0-15ED-4A1E-804E-016E8E850D5B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14" name="Footer Placeholder 4">
            <a:extLst/>
          </p:cNvPr>
          <p:cNvSpPr>
            <a:spLocks noGrp="1"/>
          </p:cNvSpPr>
          <p:nvPr>
            <p:ph type="ftr" sz="quarter" idx="19"/>
            <p:custDataLst>
              <p:tags r:id="rId5"/>
            </p:custDataLst>
          </p:nvPr>
        </p:nvSpPr>
        <p:spPr/>
        <p:txBody>
          <a:bodyPr/>
          <a:lstStyle>
            <a:lvl1pPr algn="l" defTabSz="4572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rgbClr val="998F86"/>
                </a:solidFill>
                <a:latin typeface="Arial" panose="020B0604020202020204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ZA"/>
              <a:t>Stocktak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006179699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9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4537" name="think-cell Slide" r:id="rId7" imgW="270" imgH="270" progId="">
              <p:embed/>
            </p:oleObj>
          </a:graphicData>
        </a:graphic>
      </p:graphicFrame>
      <p:pic>
        <p:nvPicPr>
          <p:cNvPr id="9" name="Picture 10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739775"/>
            <a:ext cx="9144000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6">
            <a:extLst/>
          </p:cNvPr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2060575" y="6467475"/>
            <a:ext cx="1944688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0" b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sz="800">
                <a:solidFill>
                  <a:srgbClr val="998F8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© Western Cape Government 2012  |</a:t>
            </a:r>
            <a:endParaRPr lang="en-GB" sz="800">
              <a:solidFill>
                <a:srgbClr val="998F86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Picture 107" descr="C:\Users\Conny\Desktop\WCG\WCG - Logo\PNG\Logos blue\WCG - Logo - General - Blue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4638" y="6148388"/>
            <a:ext cx="1108075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Slide Number Placeholder 5">
            <a:extLst/>
          </p:cNvPr>
          <p:cNvSpPr>
            <a:spLocks noGrp="1"/>
          </p:cNvSpPr>
          <p:nvPr>
            <p:ph type="sldNum" sz="quarter" idx="18"/>
            <p:custDataLst>
              <p:tags r:id="rId4"/>
            </p:custDataLst>
          </p:nvPr>
        </p:nvSpPr>
        <p:spPr/>
        <p:txBody>
          <a:bodyPr/>
          <a:lstStyle>
            <a:lvl1pPr algn="r" defTabSz="4572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3399"/>
                </a:solidFill>
                <a:latin typeface="Century Gothic" pitchFamily="34" charset="0"/>
                <a:cs typeface="+mn-cs"/>
              </a:defRPr>
            </a:lvl1pPr>
          </a:lstStyle>
          <a:p>
            <a:pPr>
              <a:defRPr/>
            </a:pPr>
            <a:fld id="{8DF6572E-A111-4866-B304-ECAA9FF91E5D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14" name="Footer Placeholder 4">
            <a:extLst/>
          </p:cNvPr>
          <p:cNvSpPr>
            <a:spLocks noGrp="1"/>
          </p:cNvSpPr>
          <p:nvPr>
            <p:ph type="ftr" sz="quarter" idx="19"/>
            <p:custDataLst>
              <p:tags r:id="rId5"/>
            </p:custDataLst>
          </p:nvPr>
        </p:nvSpPr>
        <p:spPr/>
        <p:txBody>
          <a:bodyPr/>
          <a:lstStyle>
            <a:lvl1pPr algn="l" defTabSz="4572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rgbClr val="998F86"/>
                </a:solidFill>
                <a:latin typeface="Arial" panose="020B0604020202020204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ZA"/>
              <a:t>Stocktak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2839502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/>
              <a:t>Game Changer Presentatio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67655784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9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5561" name="think-cell Slide" r:id="rId7" imgW="270" imgH="270" progId="">
              <p:embed/>
            </p:oleObj>
          </a:graphicData>
        </a:graphic>
      </p:graphicFrame>
      <p:pic>
        <p:nvPicPr>
          <p:cNvPr id="9" name="Picture 10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739775"/>
            <a:ext cx="9144000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6">
            <a:extLst/>
          </p:cNvPr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2060575" y="6467475"/>
            <a:ext cx="1944688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0" b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sz="800">
                <a:solidFill>
                  <a:srgbClr val="998F8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© Western Cape Government 2012  |</a:t>
            </a:r>
            <a:endParaRPr lang="en-GB" sz="800">
              <a:solidFill>
                <a:srgbClr val="998F86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3" name="Picture 107" descr="C:\Users\Conny\Desktop\WCG\WCG - Logo\PNG\Logos blue\WCG - Logo - General - Blue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4638" y="6148388"/>
            <a:ext cx="1108075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Slide Number Placeholder 5">
            <a:extLst/>
          </p:cNvPr>
          <p:cNvSpPr>
            <a:spLocks noGrp="1"/>
          </p:cNvSpPr>
          <p:nvPr>
            <p:ph type="sldNum" sz="quarter" idx="18"/>
            <p:custDataLst>
              <p:tags r:id="rId4"/>
            </p:custDataLst>
          </p:nvPr>
        </p:nvSpPr>
        <p:spPr/>
        <p:txBody>
          <a:bodyPr/>
          <a:lstStyle>
            <a:lvl1pPr algn="r" defTabSz="4572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3399"/>
                </a:solidFill>
                <a:latin typeface="Century Gothic" pitchFamily="34" charset="0"/>
                <a:cs typeface="+mn-cs"/>
              </a:defRPr>
            </a:lvl1pPr>
          </a:lstStyle>
          <a:p>
            <a:pPr>
              <a:defRPr/>
            </a:pPr>
            <a:fld id="{34BD8902-7B77-4BA0-8BCE-D9E185888CCB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15" name="Footer Placeholder 4">
            <a:extLst/>
          </p:cNvPr>
          <p:cNvSpPr>
            <a:spLocks noGrp="1"/>
          </p:cNvSpPr>
          <p:nvPr>
            <p:ph type="ftr" sz="quarter" idx="19"/>
            <p:custDataLst>
              <p:tags r:id="rId5"/>
            </p:custDataLst>
          </p:nvPr>
        </p:nvSpPr>
        <p:spPr/>
        <p:txBody>
          <a:bodyPr/>
          <a:lstStyle>
            <a:lvl1pPr algn="l" defTabSz="4572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rgbClr val="998F86"/>
                </a:solidFill>
                <a:latin typeface="Arial" panose="020B0604020202020204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ZA"/>
              <a:t>Stocktak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696694185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/>
          </p:cNvPr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9" name="Rectangle 8">
              <a:extLst/>
            </p:cNvPr>
            <p:cNvSpPr/>
            <p:nvPr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prstClr val="white"/>
                </a:solidFill>
              </a:endParaRPr>
            </a:p>
          </p:txBody>
        </p:sp>
        <p:pic>
          <p:nvPicPr>
            <p:cNvPr id="10" name="Picture 9">
              <a:extLst/>
            </p:cNvPr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1" name="Rectangle 14">
            <a:extLst/>
          </p:cNvPr>
          <p:cNvSpPr>
            <a:spLocks noChangeArrowheads="1"/>
          </p:cNvSpPr>
          <p:nvPr userDrawn="1"/>
        </p:nvSpPr>
        <p:spPr bwMode="auto">
          <a:xfrm>
            <a:off x="2835275" y="3497263"/>
            <a:ext cx="401638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72000" rIns="36000" bIns="7200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spcBef>
                <a:spcPts val="300"/>
              </a:spcBef>
              <a:buFont typeface="Arial" panose="020B0604020202020204" pitchFamily="34" charset="0"/>
              <a:buNone/>
              <a:defRPr/>
            </a:pPr>
            <a:r>
              <a:rPr lang="en-GB" sz="1100" b="1">
                <a:solidFill>
                  <a:srgbClr val="003399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Tel:</a:t>
            </a:r>
          </a:p>
        </p:txBody>
      </p:sp>
      <p:sp>
        <p:nvSpPr>
          <p:cNvPr id="15" name="Rectangle 15">
            <a:extLst/>
          </p:cNvPr>
          <p:cNvSpPr>
            <a:spLocks noChangeArrowheads="1"/>
          </p:cNvSpPr>
          <p:nvPr userDrawn="1"/>
        </p:nvSpPr>
        <p:spPr bwMode="auto">
          <a:xfrm>
            <a:off x="4779963" y="3497263"/>
            <a:ext cx="4032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72000" rIns="36000" bIns="7200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spcBef>
                <a:spcPts val="300"/>
              </a:spcBef>
              <a:buFont typeface="Arial" panose="020B0604020202020204" pitchFamily="34" charset="0"/>
              <a:buNone/>
              <a:defRPr/>
            </a:pPr>
            <a:r>
              <a:rPr lang="en-GB" sz="1100" b="1">
                <a:solidFill>
                  <a:srgbClr val="003399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Fax:</a:t>
            </a:r>
          </a:p>
        </p:txBody>
      </p:sp>
      <p:sp>
        <p:nvSpPr>
          <p:cNvPr id="17" name="Rectangle 16">
            <a:extLst/>
          </p:cNvPr>
          <p:cNvSpPr>
            <a:spLocks noChangeArrowheads="1"/>
          </p:cNvSpPr>
          <p:nvPr userDrawn="1"/>
        </p:nvSpPr>
        <p:spPr bwMode="auto">
          <a:xfrm>
            <a:off x="2835275" y="4043363"/>
            <a:ext cx="3733800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72000" rIns="36000" bIns="7200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spcBef>
                <a:spcPts val="300"/>
              </a:spcBef>
              <a:buFont typeface="Arial" panose="020B0604020202020204" pitchFamily="34" charset="0"/>
              <a:buNone/>
              <a:defRPr/>
            </a:pPr>
            <a:r>
              <a:rPr lang="en-GB" sz="1100" b="1">
                <a:solidFill>
                  <a:srgbClr val="003399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www.westerncape.gov.za</a:t>
            </a:r>
          </a:p>
        </p:txBody>
      </p:sp>
      <p:pic>
        <p:nvPicPr>
          <p:cNvPr id="19" name="Picture 3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135188" y="1735138"/>
            <a:ext cx="2843212" cy="1082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0" name="Rectangle 18">
            <a:extLst/>
          </p:cNvPr>
          <p:cNvSpPr>
            <a:spLocks noChangeArrowheads="1"/>
          </p:cNvSpPr>
          <p:nvPr userDrawn="1"/>
        </p:nvSpPr>
        <p:spPr bwMode="auto">
          <a:xfrm>
            <a:off x="295275" y="565150"/>
            <a:ext cx="2405063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sz="3200">
                <a:solidFill>
                  <a:srgbClr val="FFFFFF"/>
                </a:solidFill>
                <a:latin typeface="Century Gothic" panose="020B0502020202020204" pitchFamily="34" charset="0"/>
              </a:rPr>
              <a:t>Contact Us</a:t>
            </a:r>
            <a:endParaRPr lang="en-GB" sz="2400">
              <a:solidFill>
                <a:srgbClr val="FFFFFF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707505777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/>
          </p:cNvPr>
          <p:cNvSpPr txBox="1">
            <a:spLocks/>
          </p:cNvSpPr>
          <p:nvPr userDrawn="1"/>
        </p:nvSpPr>
        <p:spPr>
          <a:xfrm>
            <a:off x="1763713" y="3860800"/>
            <a:ext cx="7200900" cy="1084263"/>
          </a:xfrm>
          <a:prstGeom prst="rect">
            <a:avLst/>
          </a:prstGeom>
        </p:spPr>
        <p:txBody>
          <a:bodyPr wrap="none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fontAlgn="auto">
              <a:spcAft>
                <a:spcPts val="2400"/>
              </a:spcAft>
              <a:defRPr/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3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3224213"/>
            <a:ext cx="9144000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166458650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2586038"/>
            <a:ext cx="9144000" cy="493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5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4013" y="382588"/>
            <a:ext cx="5400675" cy="1576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tIns="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tIns="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2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Date Placeholder 11"/>
          <p:cNvSpPr>
            <a:spLocks noGrp="1"/>
          </p:cNvSpPr>
          <p:nvPr>
            <p:ph type="dt" sz="half" idx="12"/>
          </p:nvPr>
        </p:nvSpPr>
        <p:spPr>
          <a:xfrm>
            <a:off x="7164388" y="5397500"/>
            <a:ext cx="15113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defTabSz="914400" fontAlgn="auto">
              <a:spcBef>
                <a:spcPts val="0"/>
              </a:spcBef>
              <a:spcAft>
                <a:spcPts val="0"/>
              </a:spcAft>
              <a:defRPr sz="1200" dirty="0">
                <a:solidFill>
                  <a:prstClr val="white"/>
                </a:solidFill>
                <a:latin typeface="Century Gothic"/>
              </a:defRPr>
            </a:lvl1pPr>
          </a:lstStyle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946327709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1"/>
            <p:custDataLst>
              <p:tags r:id="rId1"/>
            </p:custDataLst>
          </p:nvPr>
        </p:nvSpPr>
        <p:spPr/>
        <p:txBody>
          <a:bodyPr/>
          <a:lstStyle>
            <a:lvl1pPr algn="r" defTabSz="457200" fontAlgn="base">
              <a:spcBef>
                <a:spcPct val="0"/>
              </a:spcBef>
              <a:spcAft>
                <a:spcPct val="0"/>
              </a:spcAft>
              <a:defRPr sz="900" smtClean="0">
                <a:solidFill>
                  <a:srgbClr val="003399"/>
                </a:solidFill>
                <a:latin typeface="Century Gothic" pitchFamily="34" charset="0"/>
              </a:defRPr>
            </a:lvl1pPr>
          </a:lstStyle>
          <a:p>
            <a:pPr>
              <a:defRPr/>
            </a:pPr>
            <a:fld id="{91AB3494-0B9F-41B7-AE7E-2A467F619238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  <p:custDataLst>
              <p:tags r:id="rId2"/>
            </p:custDataLst>
          </p:nvPr>
        </p:nvSpPr>
        <p:spPr/>
        <p:txBody>
          <a:bodyPr/>
          <a:lstStyle>
            <a:lvl1pPr algn="l" defTabSz="457200" fontAlgn="base">
              <a:spcBef>
                <a:spcPct val="0"/>
              </a:spcBef>
              <a:spcAft>
                <a:spcPct val="0"/>
              </a:spcAft>
              <a:defRPr sz="800">
                <a:solidFill>
                  <a:srgbClr val="998F86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ZA"/>
              <a:t>Political Steercom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344259822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  <p:custDataLst>
              <p:tags r:id="rId1"/>
            </p:custDataLst>
          </p:nvPr>
        </p:nvSpPr>
        <p:spPr/>
        <p:txBody>
          <a:bodyPr/>
          <a:lstStyle>
            <a:lvl1pPr algn="r" defTabSz="457200" fontAlgn="base">
              <a:spcBef>
                <a:spcPct val="0"/>
              </a:spcBef>
              <a:spcAft>
                <a:spcPct val="0"/>
              </a:spcAft>
              <a:defRPr sz="900" smtClean="0">
                <a:solidFill>
                  <a:srgbClr val="003399"/>
                </a:solidFill>
                <a:latin typeface="Century Gothic" pitchFamily="34" charset="0"/>
              </a:defRPr>
            </a:lvl1pPr>
          </a:lstStyle>
          <a:p>
            <a:pPr>
              <a:defRPr/>
            </a:pPr>
            <a:fld id="{F99A2EB4-485B-411F-B46D-0DBE80F945DC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3"/>
            <p:custDataLst>
              <p:tags r:id="rId2"/>
            </p:custDataLst>
          </p:nvPr>
        </p:nvSpPr>
        <p:spPr/>
        <p:txBody>
          <a:bodyPr/>
          <a:lstStyle>
            <a:lvl1pPr algn="l" defTabSz="457200" fontAlgn="base">
              <a:spcBef>
                <a:spcPct val="0"/>
              </a:spcBef>
              <a:spcAft>
                <a:spcPct val="0"/>
              </a:spcAft>
              <a:defRPr sz="800">
                <a:solidFill>
                  <a:srgbClr val="998F86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ZA"/>
              <a:t>Political Steercom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924039538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Slide Number Placeholder 5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>
            <a:lvl1pPr algn="r" defTabSz="457200" fontAlgn="base">
              <a:spcBef>
                <a:spcPct val="0"/>
              </a:spcBef>
              <a:spcAft>
                <a:spcPct val="0"/>
              </a:spcAft>
              <a:defRPr sz="900" smtClean="0">
                <a:solidFill>
                  <a:srgbClr val="003399"/>
                </a:solidFill>
                <a:latin typeface="Century Gothic" pitchFamily="34" charset="0"/>
              </a:defRPr>
            </a:lvl1pPr>
          </a:lstStyle>
          <a:p>
            <a:pPr>
              <a:defRPr/>
            </a:pPr>
            <a:fld id="{5244A391-1B29-48DC-A8D7-B9F29B42AF55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 algn="l" defTabSz="457200" fontAlgn="base">
              <a:spcBef>
                <a:spcPct val="0"/>
              </a:spcBef>
              <a:spcAft>
                <a:spcPct val="0"/>
              </a:spcAft>
              <a:defRPr sz="800">
                <a:solidFill>
                  <a:srgbClr val="998F86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ZA"/>
              <a:t>Political Steercom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790229649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  <p:custDataLst>
              <p:tags r:id="rId1"/>
            </p:custDataLst>
          </p:nvPr>
        </p:nvSpPr>
        <p:spPr/>
        <p:txBody>
          <a:bodyPr/>
          <a:lstStyle>
            <a:lvl1pPr algn="r" defTabSz="457200" fontAlgn="base">
              <a:spcBef>
                <a:spcPct val="0"/>
              </a:spcBef>
              <a:spcAft>
                <a:spcPct val="0"/>
              </a:spcAft>
              <a:defRPr sz="900" smtClean="0">
                <a:solidFill>
                  <a:srgbClr val="003399"/>
                </a:solidFill>
                <a:latin typeface="Century Gothic" pitchFamily="34" charset="0"/>
              </a:defRPr>
            </a:lvl1pPr>
          </a:lstStyle>
          <a:p>
            <a:pPr>
              <a:defRPr/>
            </a:pPr>
            <a:fld id="{B8C0E0C4-36F7-4761-A52A-1C2D7F851C09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5"/>
            <p:custDataLst>
              <p:tags r:id="rId2"/>
            </p:custDataLst>
          </p:nvPr>
        </p:nvSpPr>
        <p:spPr/>
        <p:txBody>
          <a:bodyPr/>
          <a:lstStyle>
            <a:lvl1pPr algn="l" defTabSz="457200" fontAlgn="base">
              <a:spcBef>
                <a:spcPct val="0"/>
              </a:spcBef>
              <a:spcAft>
                <a:spcPct val="0"/>
              </a:spcAft>
              <a:defRPr sz="800">
                <a:solidFill>
                  <a:srgbClr val="998F86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ZA"/>
              <a:t>Political Steercom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963423263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  <p:custDataLst>
              <p:tags r:id="rId1"/>
            </p:custDataLst>
          </p:nvPr>
        </p:nvSpPr>
        <p:spPr/>
        <p:txBody>
          <a:bodyPr/>
          <a:lstStyle>
            <a:lvl1pPr algn="r" defTabSz="457200" fontAlgn="base">
              <a:spcBef>
                <a:spcPct val="0"/>
              </a:spcBef>
              <a:spcAft>
                <a:spcPct val="0"/>
              </a:spcAft>
              <a:defRPr sz="900" smtClean="0">
                <a:solidFill>
                  <a:srgbClr val="003399"/>
                </a:solidFill>
                <a:latin typeface="Century Gothic" pitchFamily="34" charset="0"/>
              </a:defRPr>
            </a:lvl1pPr>
          </a:lstStyle>
          <a:p>
            <a:pPr>
              <a:defRPr/>
            </a:pPr>
            <a:fld id="{6139AE05-74F2-4448-9536-EBE32ED6DA9E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7"/>
            <p:custDataLst>
              <p:tags r:id="rId2"/>
            </p:custDataLst>
          </p:nvPr>
        </p:nvSpPr>
        <p:spPr/>
        <p:txBody>
          <a:bodyPr/>
          <a:lstStyle>
            <a:lvl1pPr algn="l" defTabSz="457200" fontAlgn="base">
              <a:spcBef>
                <a:spcPct val="0"/>
              </a:spcBef>
              <a:spcAft>
                <a:spcPct val="0"/>
              </a:spcAft>
              <a:defRPr sz="800">
                <a:solidFill>
                  <a:srgbClr val="998F86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ZA"/>
              <a:t>Political Steercom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28118466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4"/>
            <p:custDataLst>
              <p:tags r:id="rId1"/>
            </p:custDataLst>
          </p:nvPr>
        </p:nvSpPr>
        <p:spPr/>
        <p:txBody>
          <a:bodyPr/>
          <a:lstStyle>
            <a:lvl1pPr algn="r" defTabSz="457200" fontAlgn="base">
              <a:spcBef>
                <a:spcPct val="0"/>
              </a:spcBef>
              <a:spcAft>
                <a:spcPct val="0"/>
              </a:spcAft>
              <a:defRPr sz="900" smtClean="0">
                <a:solidFill>
                  <a:srgbClr val="003399"/>
                </a:solidFill>
                <a:latin typeface="Century Gothic" pitchFamily="34" charset="0"/>
              </a:defRPr>
            </a:lvl1pPr>
          </a:lstStyle>
          <a:p>
            <a:pPr>
              <a:defRPr/>
            </a:pPr>
            <a:fld id="{03F510A3-09F3-4D35-969F-CD9FEBF3362E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5"/>
            <p:custDataLst>
              <p:tags r:id="rId2"/>
            </p:custDataLst>
          </p:nvPr>
        </p:nvSpPr>
        <p:spPr/>
        <p:txBody>
          <a:bodyPr/>
          <a:lstStyle>
            <a:lvl1pPr algn="l" defTabSz="457200" fontAlgn="base">
              <a:spcBef>
                <a:spcPct val="0"/>
              </a:spcBef>
              <a:spcAft>
                <a:spcPct val="0"/>
              </a:spcAft>
              <a:defRPr sz="800">
                <a:solidFill>
                  <a:srgbClr val="998F86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ZA"/>
              <a:t>Political Steercom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77448994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/>
              <a:t>Game Changer Presentation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39259307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  <p:custDataLst>
              <p:tags r:id="rId1"/>
            </p:custDataLst>
          </p:nvPr>
        </p:nvSpPr>
        <p:spPr/>
        <p:txBody>
          <a:bodyPr/>
          <a:lstStyle>
            <a:lvl1pPr algn="r" defTabSz="457200" fontAlgn="base">
              <a:spcBef>
                <a:spcPct val="0"/>
              </a:spcBef>
              <a:spcAft>
                <a:spcPct val="0"/>
              </a:spcAft>
              <a:defRPr sz="900" smtClean="0">
                <a:solidFill>
                  <a:srgbClr val="003399"/>
                </a:solidFill>
                <a:latin typeface="Century Gothic" pitchFamily="34" charset="0"/>
              </a:defRPr>
            </a:lvl1pPr>
          </a:lstStyle>
          <a:p>
            <a:pPr>
              <a:defRPr/>
            </a:pPr>
            <a:fld id="{6572478F-0BA9-4F8A-8CCD-919DA2958B8F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3"/>
            <p:custDataLst>
              <p:tags r:id="rId2"/>
            </p:custDataLst>
          </p:nvPr>
        </p:nvSpPr>
        <p:spPr/>
        <p:txBody>
          <a:bodyPr/>
          <a:lstStyle>
            <a:lvl1pPr algn="l" defTabSz="457200" fontAlgn="base">
              <a:spcBef>
                <a:spcPct val="0"/>
              </a:spcBef>
              <a:spcAft>
                <a:spcPct val="0"/>
              </a:spcAft>
              <a:defRPr sz="800">
                <a:solidFill>
                  <a:srgbClr val="998F86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ZA"/>
              <a:t>Political Steercom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846908298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4"/>
            <p:custDataLst>
              <p:tags r:id="rId1"/>
            </p:custDataLst>
          </p:nvPr>
        </p:nvSpPr>
        <p:spPr/>
        <p:txBody>
          <a:bodyPr/>
          <a:lstStyle>
            <a:lvl1pPr algn="r" defTabSz="457200" fontAlgn="base">
              <a:spcBef>
                <a:spcPct val="0"/>
              </a:spcBef>
              <a:spcAft>
                <a:spcPct val="0"/>
              </a:spcAft>
              <a:defRPr sz="900" smtClean="0">
                <a:solidFill>
                  <a:srgbClr val="003399"/>
                </a:solidFill>
                <a:latin typeface="Century Gothic" pitchFamily="34" charset="0"/>
              </a:defRPr>
            </a:lvl1pPr>
          </a:lstStyle>
          <a:p>
            <a:pPr>
              <a:defRPr/>
            </a:pPr>
            <a:fld id="{54075F6E-6621-42CD-BA5B-DBA793E53A9A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5"/>
            <p:custDataLst>
              <p:tags r:id="rId2"/>
            </p:custDataLst>
          </p:nvPr>
        </p:nvSpPr>
        <p:spPr/>
        <p:txBody>
          <a:bodyPr/>
          <a:lstStyle>
            <a:lvl1pPr algn="l" defTabSz="457200" fontAlgn="base">
              <a:spcBef>
                <a:spcPct val="0"/>
              </a:spcBef>
              <a:spcAft>
                <a:spcPct val="0"/>
              </a:spcAft>
              <a:defRPr sz="800">
                <a:solidFill>
                  <a:srgbClr val="998F86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ZA"/>
              <a:t>Political Steercom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263958491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1"/>
            <p:custDataLst>
              <p:tags r:id="rId1"/>
            </p:custDataLst>
          </p:nvPr>
        </p:nvSpPr>
        <p:spPr/>
        <p:txBody>
          <a:bodyPr/>
          <a:lstStyle>
            <a:lvl1pPr algn="r" defTabSz="457200" fontAlgn="base">
              <a:spcBef>
                <a:spcPct val="0"/>
              </a:spcBef>
              <a:spcAft>
                <a:spcPct val="0"/>
              </a:spcAft>
              <a:defRPr sz="900" smtClean="0">
                <a:solidFill>
                  <a:srgbClr val="003399"/>
                </a:solidFill>
                <a:latin typeface="Century Gothic" pitchFamily="34" charset="0"/>
              </a:defRPr>
            </a:lvl1pPr>
          </a:lstStyle>
          <a:p>
            <a:pPr>
              <a:defRPr/>
            </a:pPr>
            <a:fld id="{D536D7C1-AF69-4CFE-93C8-F5F43F5DD263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2"/>
            <p:custDataLst>
              <p:tags r:id="rId2"/>
            </p:custDataLst>
          </p:nvPr>
        </p:nvSpPr>
        <p:spPr/>
        <p:txBody>
          <a:bodyPr/>
          <a:lstStyle>
            <a:lvl1pPr algn="l" defTabSz="457200" fontAlgn="base">
              <a:spcBef>
                <a:spcPct val="0"/>
              </a:spcBef>
              <a:spcAft>
                <a:spcPct val="0"/>
              </a:spcAft>
              <a:defRPr sz="800">
                <a:solidFill>
                  <a:srgbClr val="998F86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ZA"/>
              <a:t>Political Steercom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605213090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5"/>
            <p:custDataLst>
              <p:tags r:id="rId1"/>
            </p:custDataLst>
          </p:nvPr>
        </p:nvSpPr>
        <p:spPr/>
        <p:txBody>
          <a:bodyPr/>
          <a:lstStyle>
            <a:lvl1pPr algn="r" defTabSz="457200" fontAlgn="base">
              <a:spcBef>
                <a:spcPct val="0"/>
              </a:spcBef>
              <a:spcAft>
                <a:spcPct val="0"/>
              </a:spcAft>
              <a:defRPr sz="900" smtClean="0">
                <a:solidFill>
                  <a:srgbClr val="003399"/>
                </a:solidFill>
                <a:latin typeface="Century Gothic" pitchFamily="34" charset="0"/>
              </a:defRPr>
            </a:lvl1pPr>
          </a:lstStyle>
          <a:p>
            <a:pPr>
              <a:defRPr/>
            </a:pPr>
            <a:fld id="{0C231789-5790-4329-A9AF-D93021BF29FC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6"/>
            <p:custDataLst>
              <p:tags r:id="rId2"/>
            </p:custDataLst>
          </p:nvPr>
        </p:nvSpPr>
        <p:spPr/>
        <p:txBody>
          <a:bodyPr/>
          <a:lstStyle>
            <a:lvl1pPr algn="l" defTabSz="457200" fontAlgn="base">
              <a:spcBef>
                <a:spcPct val="0"/>
              </a:spcBef>
              <a:spcAft>
                <a:spcPct val="0"/>
              </a:spcAft>
              <a:defRPr sz="800">
                <a:solidFill>
                  <a:srgbClr val="998F86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ZA"/>
              <a:t>Political Steercom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298448179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6"/>
            <p:custDataLst>
              <p:tags r:id="rId1"/>
            </p:custDataLst>
          </p:nvPr>
        </p:nvSpPr>
        <p:spPr/>
        <p:txBody>
          <a:bodyPr/>
          <a:lstStyle>
            <a:lvl1pPr algn="r" defTabSz="457200" fontAlgn="base">
              <a:spcBef>
                <a:spcPct val="0"/>
              </a:spcBef>
              <a:spcAft>
                <a:spcPct val="0"/>
              </a:spcAft>
              <a:defRPr sz="900" smtClean="0">
                <a:solidFill>
                  <a:srgbClr val="003399"/>
                </a:solidFill>
                <a:latin typeface="Century Gothic" pitchFamily="34" charset="0"/>
              </a:defRPr>
            </a:lvl1pPr>
          </a:lstStyle>
          <a:p>
            <a:pPr>
              <a:defRPr/>
            </a:pPr>
            <a:fld id="{B72CBFFF-0C0F-4332-803B-39D5E01D5348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7"/>
            <p:custDataLst>
              <p:tags r:id="rId2"/>
            </p:custDataLst>
          </p:nvPr>
        </p:nvSpPr>
        <p:spPr/>
        <p:txBody>
          <a:bodyPr/>
          <a:lstStyle>
            <a:lvl1pPr algn="l" defTabSz="457200" fontAlgn="base">
              <a:spcBef>
                <a:spcPct val="0"/>
              </a:spcBef>
              <a:spcAft>
                <a:spcPct val="0"/>
              </a:spcAft>
              <a:defRPr sz="800">
                <a:solidFill>
                  <a:srgbClr val="998F86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ZA"/>
              <a:t>Political Steercom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591915671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4"/>
            <p:custDataLst>
              <p:tags r:id="rId1"/>
            </p:custDataLst>
          </p:nvPr>
        </p:nvSpPr>
        <p:spPr/>
        <p:txBody>
          <a:bodyPr/>
          <a:lstStyle>
            <a:lvl1pPr algn="r" defTabSz="457200" fontAlgn="base">
              <a:spcBef>
                <a:spcPct val="0"/>
              </a:spcBef>
              <a:spcAft>
                <a:spcPct val="0"/>
              </a:spcAft>
              <a:defRPr sz="900" smtClean="0">
                <a:solidFill>
                  <a:srgbClr val="003399"/>
                </a:solidFill>
                <a:latin typeface="Century Gothic" pitchFamily="34" charset="0"/>
              </a:defRPr>
            </a:lvl1pPr>
          </a:lstStyle>
          <a:p>
            <a:pPr>
              <a:defRPr/>
            </a:pPr>
            <a:fld id="{89C02D29-6B0C-4C17-8B41-DBD2A3CF59B7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5"/>
            <p:custDataLst>
              <p:tags r:id="rId2"/>
            </p:custDataLst>
          </p:nvPr>
        </p:nvSpPr>
        <p:spPr/>
        <p:txBody>
          <a:bodyPr/>
          <a:lstStyle>
            <a:lvl1pPr algn="l" defTabSz="457200" fontAlgn="base">
              <a:spcBef>
                <a:spcPct val="0"/>
              </a:spcBef>
              <a:spcAft>
                <a:spcPct val="0"/>
              </a:spcAft>
              <a:defRPr sz="800">
                <a:solidFill>
                  <a:srgbClr val="998F86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ZA"/>
              <a:t>Political Steercom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803383060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7150" y="5516563"/>
            <a:ext cx="9086850" cy="17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107" descr="C:\Users\Conny\Desktop\WCG\WCG - Logo\PNG\Logos blue\WCG - Logo - General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4638" y="6148388"/>
            <a:ext cx="1108075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239446010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  <p:custDataLst>
              <p:tags r:id="rId1"/>
            </p:custDataLst>
          </p:nvPr>
        </p:nvSpPr>
        <p:spPr/>
        <p:txBody>
          <a:bodyPr/>
          <a:lstStyle>
            <a:lvl1pPr algn="r" defTabSz="457200" fontAlgn="base">
              <a:spcBef>
                <a:spcPct val="0"/>
              </a:spcBef>
              <a:spcAft>
                <a:spcPct val="0"/>
              </a:spcAft>
              <a:defRPr sz="900" smtClean="0">
                <a:solidFill>
                  <a:srgbClr val="003399"/>
                </a:solidFill>
                <a:latin typeface="Century Gothic" pitchFamily="34" charset="0"/>
              </a:defRPr>
            </a:lvl1pPr>
          </a:lstStyle>
          <a:p>
            <a:pPr>
              <a:defRPr/>
            </a:pPr>
            <a:fld id="{ABA33096-23CE-4173-B6DC-74D8F29C2E6E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7"/>
            <p:custDataLst>
              <p:tags r:id="rId2"/>
            </p:custDataLst>
          </p:nvPr>
        </p:nvSpPr>
        <p:spPr/>
        <p:txBody>
          <a:bodyPr/>
          <a:lstStyle>
            <a:lvl1pPr algn="l" defTabSz="457200" fontAlgn="base">
              <a:spcBef>
                <a:spcPct val="0"/>
              </a:spcBef>
              <a:spcAft>
                <a:spcPct val="0"/>
              </a:spcAft>
              <a:defRPr sz="800">
                <a:solidFill>
                  <a:srgbClr val="998F86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ZA"/>
              <a:t>Political Steercom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746684196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6"/>
            <p:custDataLst>
              <p:tags r:id="rId1"/>
            </p:custDataLst>
          </p:nvPr>
        </p:nvSpPr>
        <p:spPr/>
        <p:txBody>
          <a:bodyPr/>
          <a:lstStyle>
            <a:lvl1pPr algn="r" defTabSz="457200" fontAlgn="base">
              <a:spcBef>
                <a:spcPct val="0"/>
              </a:spcBef>
              <a:spcAft>
                <a:spcPct val="0"/>
              </a:spcAft>
              <a:defRPr sz="900" smtClean="0">
                <a:solidFill>
                  <a:srgbClr val="003399"/>
                </a:solidFill>
                <a:latin typeface="Century Gothic" pitchFamily="34" charset="0"/>
              </a:defRPr>
            </a:lvl1pPr>
          </a:lstStyle>
          <a:p>
            <a:pPr>
              <a:defRPr/>
            </a:pPr>
            <a:fld id="{1BF8B5B6-2FB6-4A69-8F48-0F6508BF19A5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7"/>
            <p:custDataLst>
              <p:tags r:id="rId2"/>
            </p:custDataLst>
          </p:nvPr>
        </p:nvSpPr>
        <p:spPr/>
        <p:txBody>
          <a:bodyPr/>
          <a:lstStyle>
            <a:lvl1pPr algn="l" defTabSz="457200" fontAlgn="base">
              <a:spcBef>
                <a:spcPct val="0"/>
              </a:spcBef>
              <a:spcAft>
                <a:spcPct val="0"/>
              </a:spcAft>
              <a:defRPr sz="800">
                <a:solidFill>
                  <a:srgbClr val="998F86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ZA"/>
              <a:t>Political Steercom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531452189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7"/>
            <p:custDataLst>
              <p:tags r:id="rId1"/>
            </p:custDataLst>
          </p:nvPr>
        </p:nvSpPr>
        <p:spPr/>
        <p:txBody>
          <a:bodyPr/>
          <a:lstStyle>
            <a:lvl1pPr algn="r" defTabSz="457200" fontAlgn="base">
              <a:spcBef>
                <a:spcPct val="0"/>
              </a:spcBef>
              <a:spcAft>
                <a:spcPct val="0"/>
              </a:spcAft>
              <a:defRPr sz="900" smtClean="0">
                <a:solidFill>
                  <a:srgbClr val="003399"/>
                </a:solidFill>
                <a:latin typeface="Century Gothic" pitchFamily="34" charset="0"/>
              </a:defRPr>
            </a:lvl1pPr>
          </a:lstStyle>
          <a:p>
            <a:pPr>
              <a:defRPr/>
            </a:pPr>
            <a:fld id="{01C4CC02-5486-4241-B6EB-EA8177603974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8"/>
            <p:custDataLst>
              <p:tags r:id="rId2"/>
            </p:custDataLst>
          </p:nvPr>
        </p:nvSpPr>
        <p:spPr/>
        <p:txBody>
          <a:bodyPr/>
          <a:lstStyle>
            <a:lvl1pPr algn="l" defTabSz="457200" fontAlgn="base">
              <a:spcBef>
                <a:spcPct val="0"/>
              </a:spcBef>
              <a:spcAft>
                <a:spcPct val="0"/>
              </a:spcAft>
              <a:defRPr sz="800">
                <a:solidFill>
                  <a:srgbClr val="998F86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ZA"/>
              <a:t>Political Steercom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29886238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/>
              <a:t>Game Changer Presentation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823366384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7"/>
            <p:custDataLst>
              <p:tags r:id="rId1"/>
            </p:custDataLst>
          </p:nvPr>
        </p:nvSpPr>
        <p:spPr/>
        <p:txBody>
          <a:bodyPr/>
          <a:lstStyle>
            <a:lvl1pPr algn="r" defTabSz="457200" fontAlgn="base">
              <a:spcBef>
                <a:spcPct val="0"/>
              </a:spcBef>
              <a:spcAft>
                <a:spcPct val="0"/>
              </a:spcAft>
              <a:defRPr sz="900" smtClean="0">
                <a:solidFill>
                  <a:srgbClr val="003399"/>
                </a:solidFill>
                <a:latin typeface="Century Gothic" pitchFamily="34" charset="0"/>
              </a:defRPr>
            </a:lvl1pPr>
          </a:lstStyle>
          <a:p>
            <a:pPr>
              <a:defRPr/>
            </a:pPr>
            <a:fld id="{FE07759E-390C-44AB-B0F3-DF625A2BF1E9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8"/>
            <p:custDataLst>
              <p:tags r:id="rId2"/>
            </p:custDataLst>
          </p:nvPr>
        </p:nvSpPr>
        <p:spPr/>
        <p:txBody>
          <a:bodyPr/>
          <a:lstStyle>
            <a:lvl1pPr algn="l" defTabSz="457200" fontAlgn="base">
              <a:spcBef>
                <a:spcPct val="0"/>
              </a:spcBef>
              <a:spcAft>
                <a:spcPct val="0"/>
              </a:spcAft>
              <a:defRPr sz="800">
                <a:solidFill>
                  <a:srgbClr val="998F86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ZA"/>
              <a:t>Political Steercom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368818622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8"/>
            <p:custDataLst>
              <p:tags r:id="rId1"/>
            </p:custDataLst>
          </p:nvPr>
        </p:nvSpPr>
        <p:spPr/>
        <p:txBody>
          <a:bodyPr/>
          <a:lstStyle>
            <a:lvl1pPr algn="r" defTabSz="457200" fontAlgn="base">
              <a:spcBef>
                <a:spcPct val="0"/>
              </a:spcBef>
              <a:spcAft>
                <a:spcPct val="0"/>
              </a:spcAft>
              <a:defRPr sz="900" smtClean="0">
                <a:solidFill>
                  <a:srgbClr val="003399"/>
                </a:solidFill>
                <a:latin typeface="Century Gothic" pitchFamily="34" charset="0"/>
              </a:defRPr>
            </a:lvl1pPr>
          </a:lstStyle>
          <a:p>
            <a:pPr>
              <a:defRPr/>
            </a:pPr>
            <a:fld id="{7CEA1061-B7EC-483D-97A0-5E7C22D7D991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9"/>
            <p:custDataLst>
              <p:tags r:id="rId2"/>
            </p:custDataLst>
          </p:nvPr>
        </p:nvSpPr>
        <p:spPr/>
        <p:txBody>
          <a:bodyPr/>
          <a:lstStyle>
            <a:lvl1pPr algn="l" defTabSz="457200" fontAlgn="base">
              <a:spcBef>
                <a:spcPct val="0"/>
              </a:spcBef>
              <a:spcAft>
                <a:spcPct val="0"/>
              </a:spcAft>
              <a:defRPr sz="800">
                <a:solidFill>
                  <a:srgbClr val="998F86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ZA"/>
              <a:t>Political Steercom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341112755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8"/>
            <p:custDataLst>
              <p:tags r:id="rId1"/>
            </p:custDataLst>
          </p:nvPr>
        </p:nvSpPr>
        <p:spPr/>
        <p:txBody>
          <a:bodyPr/>
          <a:lstStyle>
            <a:lvl1pPr algn="r" defTabSz="457200" fontAlgn="base">
              <a:spcBef>
                <a:spcPct val="0"/>
              </a:spcBef>
              <a:spcAft>
                <a:spcPct val="0"/>
              </a:spcAft>
              <a:defRPr sz="900" smtClean="0">
                <a:solidFill>
                  <a:srgbClr val="003399"/>
                </a:solidFill>
                <a:latin typeface="Century Gothic" pitchFamily="34" charset="0"/>
              </a:defRPr>
            </a:lvl1pPr>
          </a:lstStyle>
          <a:p>
            <a:pPr>
              <a:defRPr/>
            </a:pPr>
            <a:fld id="{E1327EA0-F5B7-4D8E-8A08-A76B12EF52AB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9"/>
            <p:custDataLst>
              <p:tags r:id="rId2"/>
            </p:custDataLst>
          </p:nvPr>
        </p:nvSpPr>
        <p:spPr/>
        <p:txBody>
          <a:bodyPr/>
          <a:lstStyle>
            <a:lvl1pPr algn="l" defTabSz="457200" fontAlgn="base">
              <a:spcBef>
                <a:spcPct val="0"/>
              </a:spcBef>
              <a:spcAft>
                <a:spcPct val="0"/>
              </a:spcAft>
              <a:defRPr sz="800">
                <a:solidFill>
                  <a:srgbClr val="998F86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ZA"/>
              <a:t>Political Steercom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99111345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8"/>
            <p:custDataLst>
              <p:tags r:id="rId1"/>
            </p:custDataLst>
          </p:nvPr>
        </p:nvSpPr>
        <p:spPr/>
        <p:txBody>
          <a:bodyPr/>
          <a:lstStyle>
            <a:lvl1pPr algn="r" defTabSz="457200" fontAlgn="base">
              <a:spcBef>
                <a:spcPct val="0"/>
              </a:spcBef>
              <a:spcAft>
                <a:spcPct val="0"/>
              </a:spcAft>
              <a:defRPr sz="900" smtClean="0">
                <a:solidFill>
                  <a:srgbClr val="003399"/>
                </a:solidFill>
                <a:latin typeface="Century Gothic" pitchFamily="34" charset="0"/>
              </a:defRPr>
            </a:lvl1pPr>
          </a:lstStyle>
          <a:p>
            <a:pPr>
              <a:defRPr/>
            </a:pPr>
            <a:fld id="{A14E724E-121E-40CE-B85C-C36BD4E58F45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9"/>
            <p:custDataLst>
              <p:tags r:id="rId2"/>
            </p:custDataLst>
          </p:nvPr>
        </p:nvSpPr>
        <p:spPr/>
        <p:txBody>
          <a:bodyPr/>
          <a:lstStyle>
            <a:lvl1pPr algn="l" defTabSz="457200" fontAlgn="base">
              <a:spcBef>
                <a:spcPct val="0"/>
              </a:spcBef>
              <a:spcAft>
                <a:spcPct val="0"/>
              </a:spcAft>
              <a:defRPr sz="800">
                <a:solidFill>
                  <a:srgbClr val="998F86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ZA"/>
              <a:t>Political Steercom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883229198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8"/>
            <p:custDataLst>
              <p:tags r:id="rId1"/>
            </p:custDataLst>
          </p:nvPr>
        </p:nvSpPr>
        <p:spPr/>
        <p:txBody>
          <a:bodyPr/>
          <a:lstStyle>
            <a:lvl1pPr algn="r" defTabSz="457200" fontAlgn="base">
              <a:spcBef>
                <a:spcPct val="0"/>
              </a:spcBef>
              <a:spcAft>
                <a:spcPct val="0"/>
              </a:spcAft>
              <a:defRPr sz="900" smtClean="0">
                <a:solidFill>
                  <a:srgbClr val="003399"/>
                </a:solidFill>
                <a:latin typeface="Century Gothic" pitchFamily="34" charset="0"/>
              </a:defRPr>
            </a:lvl1pPr>
          </a:lstStyle>
          <a:p>
            <a:pPr>
              <a:defRPr/>
            </a:pPr>
            <a:fld id="{0B7C48F3-67B6-4612-A347-00090C4B1605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9"/>
            <p:custDataLst>
              <p:tags r:id="rId2"/>
            </p:custDataLst>
          </p:nvPr>
        </p:nvSpPr>
        <p:spPr/>
        <p:txBody>
          <a:bodyPr/>
          <a:lstStyle>
            <a:lvl1pPr algn="l" defTabSz="457200" fontAlgn="base">
              <a:spcBef>
                <a:spcPct val="0"/>
              </a:spcBef>
              <a:spcAft>
                <a:spcPct val="0"/>
              </a:spcAft>
              <a:defRPr sz="800">
                <a:solidFill>
                  <a:srgbClr val="998F86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ZA"/>
              <a:t>Political Steercom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067008524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9" name="Rectangle 8"/>
            <p:cNvSpPr/>
            <p:nvPr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prstClr val="white"/>
                </a:solidFill>
              </a:endParaRPr>
            </a:p>
          </p:txBody>
        </p:sp>
        <p:pic>
          <p:nvPicPr>
            <p:cNvPr id="10" name="Picture 9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1" name="Rectangle 14"/>
          <p:cNvSpPr>
            <a:spLocks noChangeArrowheads="1"/>
          </p:cNvSpPr>
          <p:nvPr userDrawn="1"/>
        </p:nvSpPr>
        <p:spPr bwMode="auto">
          <a:xfrm>
            <a:off x="2835275" y="3497263"/>
            <a:ext cx="401638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72000" rIns="36000" bIns="7200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spcBef>
                <a:spcPts val="300"/>
              </a:spcBef>
              <a:buFont typeface="Arial" panose="020B0604020202020204" pitchFamily="34" charset="0"/>
              <a:buNone/>
            </a:pPr>
            <a:r>
              <a:rPr lang="en-GB" altLang="en-US" sz="1100" b="1">
                <a:solidFill>
                  <a:srgbClr val="003399"/>
                </a:solidFill>
                <a:latin typeface="Century Gothic" panose="020B0502020202020204" pitchFamily="34" charset="0"/>
              </a:rPr>
              <a:t>Tel:</a:t>
            </a:r>
          </a:p>
        </p:txBody>
      </p:sp>
      <p:sp>
        <p:nvSpPr>
          <p:cNvPr id="15" name="Rectangle 15"/>
          <p:cNvSpPr>
            <a:spLocks noChangeArrowheads="1"/>
          </p:cNvSpPr>
          <p:nvPr userDrawn="1"/>
        </p:nvSpPr>
        <p:spPr bwMode="auto">
          <a:xfrm>
            <a:off x="4779963" y="3497263"/>
            <a:ext cx="4032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72000" rIns="36000" bIns="7200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spcBef>
                <a:spcPts val="300"/>
              </a:spcBef>
              <a:buFont typeface="Arial" panose="020B0604020202020204" pitchFamily="34" charset="0"/>
              <a:buNone/>
            </a:pPr>
            <a:r>
              <a:rPr lang="en-GB" altLang="en-US" sz="1100" b="1">
                <a:solidFill>
                  <a:srgbClr val="003399"/>
                </a:solidFill>
                <a:latin typeface="Century Gothic" panose="020B0502020202020204" pitchFamily="34" charset="0"/>
              </a:rPr>
              <a:t>Fax:</a:t>
            </a:r>
          </a:p>
        </p:txBody>
      </p:sp>
      <p:sp>
        <p:nvSpPr>
          <p:cNvPr id="17" name="Rectangle 16"/>
          <p:cNvSpPr>
            <a:spLocks noChangeArrowheads="1"/>
          </p:cNvSpPr>
          <p:nvPr userDrawn="1"/>
        </p:nvSpPr>
        <p:spPr bwMode="auto">
          <a:xfrm>
            <a:off x="2835275" y="4043363"/>
            <a:ext cx="3733800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72000" rIns="36000" bIns="7200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spcBef>
                <a:spcPts val="300"/>
              </a:spcBef>
              <a:buFont typeface="Arial" panose="020B0604020202020204" pitchFamily="34" charset="0"/>
              <a:buNone/>
            </a:pPr>
            <a:r>
              <a:rPr lang="en-GB" altLang="en-US" sz="1100" b="1">
                <a:solidFill>
                  <a:srgbClr val="003399"/>
                </a:solidFill>
                <a:latin typeface="Century Gothic" panose="020B0502020202020204" pitchFamily="34" charset="0"/>
              </a:rPr>
              <a:t>www.westerncape.gov.za</a:t>
            </a:r>
          </a:p>
        </p:txBody>
      </p:sp>
      <p:pic>
        <p:nvPicPr>
          <p:cNvPr id="19" name="Picture 3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135188" y="1735138"/>
            <a:ext cx="2843212" cy="1082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0" name="Rectangle 18"/>
          <p:cNvSpPr>
            <a:spLocks noChangeArrowheads="1"/>
          </p:cNvSpPr>
          <p:nvPr userDrawn="1"/>
        </p:nvSpPr>
        <p:spPr bwMode="auto">
          <a:xfrm>
            <a:off x="295275" y="565150"/>
            <a:ext cx="2405063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3200">
                <a:solidFill>
                  <a:srgbClr val="FFFFFF"/>
                </a:solidFill>
                <a:latin typeface="Century Gothic" panose="020B0502020202020204" pitchFamily="34" charset="0"/>
              </a:rPr>
              <a:t>Contact Us</a:t>
            </a:r>
            <a:endParaRPr lang="en-GB" altLang="en-US" sz="2400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725779779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 userDrawn="1"/>
        </p:nvSpPr>
        <p:spPr>
          <a:xfrm>
            <a:off x="1763713" y="3860800"/>
            <a:ext cx="7200900" cy="1084263"/>
          </a:xfrm>
          <a:prstGeom prst="rect">
            <a:avLst/>
          </a:prstGeom>
        </p:spPr>
        <p:txBody>
          <a:bodyPr wrap="none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fontAlgn="auto">
              <a:spcAft>
                <a:spcPts val="2400"/>
              </a:spcAft>
              <a:defRPr/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3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3224213"/>
            <a:ext cx="9144000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3308552187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2586038"/>
            <a:ext cx="9144000" cy="493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5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4014" y="382590"/>
            <a:ext cx="5400675" cy="1576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1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tIns="0" bIns="0" anchor="b">
            <a:normAutofit/>
          </a:bodyPr>
          <a:lstStyle>
            <a:lvl1pPr algn="r">
              <a:spcBef>
                <a:spcPts val="225"/>
              </a:spcBef>
              <a:defRPr sz="195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tIns="0" bIns="0" anchor="ctr">
            <a:normAutofit/>
          </a:bodyPr>
          <a:lstStyle>
            <a:lvl1pPr marL="0" indent="0" algn="r">
              <a:buNone/>
              <a:defRPr sz="1500" b="0"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3635548" y="5398047"/>
            <a:ext cx="1584176" cy="365125"/>
          </a:xfrm>
        </p:spPr>
        <p:txBody>
          <a:bodyPr>
            <a:normAutofit/>
          </a:bodyPr>
          <a:lstStyle>
            <a:lvl1pPr algn="r"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/>
          </p:nvPr>
        </p:nvSpPr>
        <p:spPr>
          <a:xfrm>
            <a:off x="5220072" y="5398047"/>
            <a:ext cx="1944216" cy="365125"/>
          </a:xfrm>
        </p:spPr>
        <p:txBody>
          <a:bodyPr>
            <a:normAutofit/>
          </a:bodyPr>
          <a:lstStyle>
            <a:lvl1pPr algn="r">
              <a:defRPr sz="9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Date Placeholder 11">
            <a:extLst/>
          </p:cNvPr>
          <p:cNvSpPr>
            <a:spLocks noGrp="1"/>
          </p:cNvSpPr>
          <p:nvPr>
            <p:ph type="dt" sz="half" idx="12"/>
          </p:nvPr>
        </p:nvSpPr>
        <p:spPr>
          <a:xfrm>
            <a:off x="7164388" y="5397502"/>
            <a:ext cx="15113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defTabSz="685800" fontAlgn="auto">
              <a:spcBef>
                <a:spcPts val="0"/>
              </a:spcBef>
              <a:spcAft>
                <a:spcPts val="0"/>
              </a:spcAft>
              <a:defRPr sz="900">
                <a:solidFill>
                  <a:prstClr val="white"/>
                </a:solidFill>
                <a:latin typeface="Century Gothic"/>
              </a:defRPr>
            </a:lvl1pPr>
          </a:lstStyle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78700404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6" y="1196754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Slide Number Placeholder 5">
            <a:extLst/>
          </p:cNvPr>
          <p:cNvSpPr>
            <a:spLocks noGrp="1"/>
          </p:cNvSpPr>
          <p:nvPr>
            <p:ph type="sldNum" sz="quarter" idx="11"/>
            <p:custDataLst>
              <p:tags r:id="rId1"/>
            </p:custDataLst>
          </p:nvPr>
        </p:nvSpPr>
        <p:spPr/>
        <p:txBody>
          <a:bodyPr/>
          <a:lstStyle>
            <a:lvl1pPr algn="r" defTabSz="342900" fontAlgn="base">
              <a:spcBef>
                <a:spcPct val="0"/>
              </a:spcBef>
              <a:spcAft>
                <a:spcPct val="0"/>
              </a:spcAft>
              <a:defRPr sz="675">
                <a:solidFill>
                  <a:srgbClr val="003399"/>
                </a:solidFill>
                <a:latin typeface="Century Gothic" pitchFamily="34" charset="0"/>
              </a:defRPr>
            </a:lvl1pPr>
          </a:lstStyle>
          <a:p>
            <a:pPr>
              <a:defRPr/>
            </a:pPr>
            <a:fld id="{C6E33EBD-0C18-4AF0-8D2D-D0F59F58B1CC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5" name="Footer Placeholder 4">
            <a:extLst/>
          </p:cNvPr>
          <p:cNvSpPr>
            <a:spLocks noGrp="1"/>
          </p:cNvSpPr>
          <p:nvPr>
            <p:ph type="ftr" sz="quarter" idx="12"/>
            <p:custDataLst>
              <p:tags r:id="rId2"/>
            </p:custDataLst>
          </p:nvPr>
        </p:nvSpPr>
        <p:spPr/>
        <p:txBody>
          <a:bodyPr/>
          <a:lstStyle>
            <a:lvl1pPr algn="l" defTabSz="342900" fontAlgn="base">
              <a:spcBef>
                <a:spcPct val="0"/>
              </a:spcBef>
              <a:spcAft>
                <a:spcPct val="0"/>
              </a:spcAft>
              <a:defRPr sz="600">
                <a:solidFill>
                  <a:srgbClr val="998F86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ZA"/>
              <a:t>Stocktak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305080999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6" y="1196754"/>
            <a:ext cx="4060701" cy="4896073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80" y="1196754"/>
            <a:ext cx="4060701" cy="4896073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Slide Number Placeholder 5">
            <a:extLst/>
          </p:cNvPr>
          <p:cNvSpPr>
            <a:spLocks noGrp="1"/>
          </p:cNvSpPr>
          <p:nvPr>
            <p:ph type="sldNum" sz="quarter" idx="12"/>
            <p:custDataLst>
              <p:tags r:id="rId1"/>
            </p:custDataLst>
          </p:nvPr>
        </p:nvSpPr>
        <p:spPr/>
        <p:txBody>
          <a:bodyPr/>
          <a:lstStyle>
            <a:lvl1pPr algn="r" defTabSz="342900" fontAlgn="base">
              <a:spcBef>
                <a:spcPct val="0"/>
              </a:spcBef>
              <a:spcAft>
                <a:spcPct val="0"/>
              </a:spcAft>
              <a:defRPr sz="675">
                <a:solidFill>
                  <a:srgbClr val="003399"/>
                </a:solidFill>
                <a:latin typeface="Century Gothic" pitchFamily="34" charset="0"/>
              </a:defRPr>
            </a:lvl1pPr>
          </a:lstStyle>
          <a:p>
            <a:pPr>
              <a:defRPr/>
            </a:pPr>
            <a:fld id="{5C3FF8D5-48CC-4F85-AB34-46691126964A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6" name="Footer Placeholder 4">
            <a:extLst/>
          </p:cNvPr>
          <p:cNvSpPr>
            <a:spLocks noGrp="1"/>
          </p:cNvSpPr>
          <p:nvPr>
            <p:ph type="ftr" sz="quarter" idx="13"/>
            <p:custDataLst>
              <p:tags r:id="rId2"/>
            </p:custDataLst>
          </p:nvPr>
        </p:nvSpPr>
        <p:spPr/>
        <p:txBody>
          <a:bodyPr/>
          <a:lstStyle>
            <a:lvl1pPr algn="l" defTabSz="342900" fontAlgn="base">
              <a:spcBef>
                <a:spcPct val="0"/>
              </a:spcBef>
              <a:spcAft>
                <a:spcPct val="0"/>
              </a:spcAft>
              <a:defRPr sz="600">
                <a:solidFill>
                  <a:srgbClr val="998F86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ZA"/>
              <a:t>Stocktak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99004587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/>
              <a:t>Game Changer Presentation</a:t>
            </a:r>
            <a:endParaRPr lang="en-GB" dirty="0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1441671455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Slide Number Placeholder 5">
            <a:extLst/>
          </p:cNvPr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/>
        <p:txBody>
          <a:bodyPr/>
          <a:lstStyle>
            <a:lvl1pPr algn="r" defTabSz="342900" fontAlgn="base">
              <a:spcBef>
                <a:spcPct val="0"/>
              </a:spcBef>
              <a:spcAft>
                <a:spcPct val="0"/>
              </a:spcAft>
              <a:defRPr sz="675">
                <a:solidFill>
                  <a:srgbClr val="003399"/>
                </a:solidFill>
                <a:latin typeface="Century Gothic" pitchFamily="34" charset="0"/>
              </a:defRPr>
            </a:lvl1pPr>
          </a:lstStyle>
          <a:p>
            <a:pPr>
              <a:defRPr/>
            </a:pPr>
            <a:fld id="{02670DDD-F76D-4C59-948C-3A1B8B489F66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4" name="Footer Placeholder 4">
            <a:extLst/>
          </p:cNvPr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/>
        <p:txBody>
          <a:bodyPr/>
          <a:lstStyle>
            <a:lvl1pPr algn="l" defTabSz="342900" fontAlgn="base">
              <a:spcBef>
                <a:spcPct val="0"/>
              </a:spcBef>
              <a:spcAft>
                <a:spcPct val="0"/>
              </a:spcAft>
              <a:defRPr sz="600">
                <a:solidFill>
                  <a:srgbClr val="998F86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ZA"/>
              <a:t>Stocktak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054628846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6" y="1412778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Slide Number Placeholder 5">
            <a:extLst/>
          </p:cNvPr>
          <p:cNvSpPr>
            <a:spLocks noGrp="1"/>
          </p:cNvSpPr>
          <p:nvPr>
            <p:ph type="sldNum" sz="quarter" idx="14"/>
            <p:custDataLst>
              <p:tags r:id="rId1"/>
            </p:custDataLst>
          </p:nvPr>
        </p:nvSpPr>
        <p:spPr/>
        <p:txBody>
          <a:bodyPr/>
          <a:lstStyle>
            <a:lvl1pPr algn="r" defTabSz="342900" fontAlgn="base">
              <a:spcBef>
                <a:spcPct val="0"/>
              </a:spcBef>
              <a:spcAft>
                <a:spcPct val="0"/>
              </a:spcAft>
              <a:defRPr sz="675">
                <a:solidFill>
                  <a:srgbClr val="003399"/>
                </a:solidFill>
                <a:latin typeface="Century Gothic" pitchFamily="34" charset="0"/>
              </a:defRPr>
            </a:lvl1pPr>
          </a:lstStyle>
          <a:p>
            <a:pPr>
              <a:defRPr/>
            </a:pPr>
            <a:fld id="{99CF12D4-BB89-4DF7-BEB5-F1959F775DE2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7" name="Footer Placeholder 4">
            <a:extLst/>
          </p:cNvPr>
          <p:cNvSpPr>
            <a:spLocks noGrp="1"/>
          </p:cNvSpPr>
          <p:nvPr>
            <p:ph type="ftr" sz="quarter" idx="15"/>
            <p:custDataLst>
              <p:tags r:id="rId2"/>
            </p:custDataLst>
          </p:nvPr>
        </p:nvSpPr>
        <p:spPr/>
        <p:txBody>
          <a:bodyPr/>
          <a:lstStyle>
            <a:lvl1pPr algn="l" defTabSz="342900" fontAlgn="base">
              <a:spcBef>
                <a:spcPct val="0"/>
              </a:spcBef>
              <a:spcAft>
                <a:spcPct val="0"/>
              </a:spcAft>
              <a:defRPr sz="600">
                <a:solidFill>
                  <a:srgbClr val="998F86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ZA"/>
              <a:t>Stocktak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4151944004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6" y="1412778"/>
            <a:ext cx="4060701" cy="4680049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80" y="1412778"/>
            <a:ext cx="4060701" cy="4680049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Slide Number Placeholder 5">
            <a:extLst/>
          </p:cNvPr>
          <p:cNvSpPr>
            <a:spLocks noGrp="1"/>
          </p:cNvSpPr>
          <p:nvPr>
            <p:ph type="sldNum" sz="quarter" idx="16"/>
            <p:custDataLst>
              <p:tags r:id="rId1"/>
            </p:custDataLst>
          </p:nvPr>
        </p:nvSpPr>
        <p:spPr/>
        <p:txBody>
          <a:bodyPr/>
          <a:lstStyle>
            <a:lvl1pPr algn="r" defTabSz="342900" fontAlgn="base">
              <a:spcBef>
                <a:spcPct val="0"/>
              </a:spcBef>
              <a:spcAft>
                <a:spcPct val="0"/>
              </a:spcAft>
              <a:defRPr sz="675">
                <a:solidFill>
                  <a:srgbClr val="003399"/>
                </a:solidFill>
                <a:latin typeface="Century Gothic" pitchFamily="34" charset="0"/>
              </a:defRPr>
            </a:lvl1pPr>
          </a:lstStyle>
          <a:p>
            <a:pPr>
              <a:defRPr/>
            </a:pPr>
            <a:fld id="{0103624F-B5F1-4664-B08C-90A6057FCE69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7" name="Footer Placeholder 4">
            <a:extLst/>
          </p:cNvPr>
          <p:cNvSpPr>
            <a:spLocks noGrp="1"/>
          </p:cNvSpPr>
          <p:nvPr>
            <p:ph type="ftr" sz="quarter" idx="17"/>
            <p:custDataLst>
              <p:tags r:id="rId2"/>
            </p:custDataLst>
          </p:nvPr>
        </p:nvSpPr>
        <p:spPr/>
        <p:txBody>
          <a:bodyPr/>
          <a:lstStyle>
            <a:lvl1pPr algn="l" defTabSz="342900" fontAlgn="base">
              <a:spcBef>
                <a:spcPct val="0"/>
              </a:spcBef>
              <a:spcAft>
                <a:spcPct val="0"/>
              </a:spcAft>
              <a:defRPr sz="600">
                <a:solidFill>
                  <a:srgbClr val="998F86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ZA"/>
              <a:t>Stocktak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764093177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Slide Number Placeholder 5">
            <a:extLst/>
          </p:cNvPr>
          <p:cNvSpPr>
            <a:spLocks noGrp="1"/>
          </p:cNvSpPr>
          <p:nvPr>
            <p:ph type="sldNum" sz="quarter" idx="14"/>
            <p:custDataLst>
              <p:tags r:id="rId1"/>
            </p:custDataLst>
          </p:nvPr>
        </p:nvSpPr>
        <p:spPr/>
        <p:txBody>
          <a:bodyPr/>
          <a:lstStyle>
            <a:lvl1pPr algn="r" defTabSz="342900" fontAlgn="base">
              <a:spcBef>
                <a:spcPct val="0"/>
              </a:spcBef>
              <a:spcAft>
                <a:spcPct val="0"/>
              </a:spcAft>
              <a:defRPr sz="675">
                <a:solidFill>
                  <a:srgbClr val="003399"/>
                </a:solidFill>
                <a:latin typeface="Century Gothic" pitchFamily="34" charset="0"/>
              </a:defRPr>
            </a:lvl1pPr>
          </a:lstStyle>
          <a:p>
            <a:pPr>
              <a:defRPr/>
            </a:pPr>
            <a:fld id="{35D93D6F-A858-477F-828F-311FF9DE0E0A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6" name="Footer Placeholder 4">
            <a:extLst/>
          </p:cNvPr>
          <p:cNvSpPr>
            <a:spLocks noGrp="1"/>
          </p:cNvSpPr>
          <p:nvPr>
            <p:ph type="ftr" sz="quarter" idx="15"/>
            <p:custDataLst>
              <p:tags r:id="rId2"/>
            </p:custDataLst>
          </p:nvPr>
        </p:nvSpPr>
        <p:spPr/>
        <p:txBody>
          <a:bodyPr/>
          <a:lstStyle>
            <a:lvl1pPr algn="l" defTabSz="342900" fontAlgn="base">
              <a:spcBef>
                <a:spcPct val="0"/>
              </a:spcBef>
              <a:spcAft>
                <a:spcPct val="0"/>
              </a:spcAft>
              <a:defRPr sz="600">
                <a:solidFill>
                  <a:srgbClr val="998F86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ZA"/>
              <a:t>Stocktak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465803558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6" y="5681850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00" b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6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Slide Number Placeholder 5">
            <a:extLst/>
          </p:cNvPr>
          <p:cNvSpPr>
            <a:spLocks noGrp="1"/>
          </p:cNvSpPr>
          <p:nvPr>
            <p:ph type="sldNum" sz="quarter" idx="12"/>
            <p:custDataLst>
              <p:tags r:id="rId1"/>
            </p:custDataLst>
          </p:nvPr>
        </p:nvSpPr>
        <p:spPr/>
        <p:txBody>
          <a:bodyPr/>
          <a:lstStyle>
            <a:lvl1pPr algn="r" defTabSz="342900" fontAlgn="base">
              <a:spcBef>
                <a:spcPct val="0"/>
              </a:spcBef>
              <a:spcAft>
                <a:spcPct val="0"/>
              </a:spcAft>
              <a:defRPr sz="675">
                <a:solidFill>
                  <a:srgbClr val="003399"/>
                </a:solidFill>
                <a:latin typeface="Century Gothic" pitchFamily="34" charset="0"/>
              </a:defRPr>
            </a:lvl1pPr>
          </a:lstStyle>
          <a:p>
            <a:pPr>
              <a:defRPr/>
            </a:pPr>
            <a:fld id="{9CD15DBE-15FE-4E5C-8539-26DC6B9CACEB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7" name="Footer Placeholder 4">
            <a:extLst/>
          </p:cNvPr>
          <p:cNvSpPr>
            <a:spLocks noGrp="1"/>
          </p:cNvSpPr>
          <p:nvPr>
            <p:ph type="ftr" sz="quarter" idx="13"/>
            <p:custDataLst>
              <p:tags r:id="rId2"/>
            </p:custDataLst>
          </p:nvPr>
        </p:nvSpPr>
        <p:spPr/>
        <p:txBody>
          <a:bodyPr/>
          <a:lstStyle>
            <a:lvl1pPr algn="l" defTabSz="342900" fontAlgn="base">
              <a:spcBef>
                <a:spcPct val="0"/>
              </a:spcBef>
              <a:spcAft>
                <a:spcPct val="0"/>
              </a:spcAft>
              <a:defRPr sz="600">
                <a:solidFill>
                  <a:srgbClr val="998F86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ZA"/>
              <a:t>Stocktak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4225791703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6" y="5681850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00" b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6" y="1196752"/>
            <a:ext cx="4060701" cy="4487075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80" y="1196752"/>
            <a:ext cx="4060701" cy="4487075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6" name="Slide Number Placeholder 5">
            <a:extLst/>
          </p:cNvPr>
          <p:cNvSpPr>
            <a:spLocks noGrp="1"/>
          </p:cNvSpPr>
          <p:nvPr>
            <p:ph type="sldNum" sz="quarter" idx="14"/>
            <p:custDataLst>
              <p:tags r:id="rId1"/>
            </p:custDataLst>
          </p:nvPr>
        </p:nvSpPr>
        <p:spPr/>
        <p:txBody>
          <a:bodyPr/>
          <a:lstStyle>
            <a:lvl1pPr algn="r" defTabSz="342900" fontAlgn="base">
              <a:spcBef>
                <a:spcPct val="0"/>
              </a:spcBef>
              <a:spcAft>
                <a:spcPct val="0"/>
              </a:spcAft>
              <a:defRPr sz="675">
                <a:solidFill>
                  <a:srgbClr val="003399"/>
                </a:solidFill>
                <a:latin typeface="Century Gothic" pitchFamily="34" charset="0"/>
              </a:defRPr>
            </a:lvl1pPr>
          </a:lstStyle>
          <a:p>
            <a:pPr>
              <a:defRPr/>
            </a:pPr>
            <a:fld id="{E9287494-5E28-45CE-A869-69D9E1B98CAD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7" name="Footer Placeholder 4">
            <a:extLst/>
          </p:cNvPr>
          <p:cNvSpPr>
            <a:spLocks noGrp="1"/>
          </p:cNvSpPr>
          <p:nvPr>
            <p:ph type="ftr" sz="quarter" idx="15"/>
            <p:custDataLst>
              <p:tags r:id="rId2"/>
            </p:custDataLst>
          </p:nvPr>
        </p:nvSpPr>
        <p:spPr/>
        <p:txBody>
          <a:bodyPr/>
          <a:lstStyle>
            <a:lvl1pPr algn="l" defTabSz="342900" fontAlgn="base">
              <a:spcBef>
                <a:spcPct val="0"/>
              </a:spcBef>
              <a:spcAft>
                <a:spcPct val="0"/>
              </a:spcAft>
              <a:defRPr sz="600">
                <a:solidFill>
                  <a:srgbClr val="998F86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ZA"/>
              <a:t>Stocktak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4209119658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6" y="5681850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00" b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Slide Number Placeholder 5">
            <a:extLst/>
          </p:cNvPr>
          <p:cNvSpPr>
            <a:spLocks noGrp="1"/>
          </p:cNvSpPr>
          <p:nvPr>
            <p:ph type="sldNum" sz="quarter" idx="11"/>
            <p:custDataLst>
              <p:tags r:id="rId1"/>
            </p:custDataLst>
          </p:nvPr>
        </p:nvSpPr>
        <p:spPr/>
        <p:txBody>
          <a:bodyPr/>
          <a:lstStyle>
            <a:lvl1pPr algn="r" defTabSz="342900" fontAlgn="base">
              <a:spcBef>
                <a:spcPct val="0"/>
              </a:spcBef>
              <a:spcAft>
                <a:spcPct val="0"/>
              </a:spcAft>
              <a:defRPr sz="675">
                <a:solidFill>
                  <a:srgbClr val="003399"/>
                </a:solidFill>
                <a:latin typeface="Century Gothic" pitchFamily="34" charset="0"/>
              </a:defRPr>
            </a:lvl1pPr>
          </a:lstStyle>
          <a:p>
            <a:pPr>
              <a:defRPr/>
            </a:pPr>
            <a:fld id="{04B287CE-330E-4B38-9F12-FC4CDCFB95BB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5" name="Footer Placeholder 4">
            <a:extLst/>
          </p:cNvPr>
          <p:cNvSpPr>
            <a:spLocks noGrp="1"/>
          </p:cNvSpPr>
          <p:nvPr>
            <p:ph type="ftr" sz="quarter" idx="12"/>
            <p:custDataLst>
              <p:tags r:id="rId2"/>
            </p:custDataLst>
          </p:nvPr>
        </p:nvSpPr>
        <p:spPr/>
        <p:txBody>
          <a:bodyPr/>
          <a:lstStyle>
            <a:lvl1pPr algn="l" defTabSz="342900" fontAlgn="base">
              <a:spcBef>
                <a:spcPct val="0"/>
              </a:spcBef>
              <a:spcAft>
                <a:spcPct val="0"/>
              </a:spcAft>
              <a:defRPr sz="600">
                <a:solidFill>
                  <a:srgbClr val="998F86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ZA"/>
              <a:t>Stocktak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437668218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6" y="5681850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00" b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6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>
            <a:extLst/>
          </p:cNvPr>
          <p:cNvSpPr>
            <a:spLocks noGrp="1"/>
          </p:cNvSpPr>
          <p:nvPr>
            <p:ph type="sldNum" sz="quarter" idx="15"/>
            <p:custDataLst>
              <p:tags r:id="rId1"/>
            </p:custDataLst>
          </p:nvPr>
        </p:nvSpPr>
        <p:spPr/>
        <p:txBody>
          <a:bodyPr/>
          <a:lstStyle>
            <a:lvl1pPr algn="r" defTabSz="342900" fontAlgn="base">
              <a:spcBef>
                <a:spcPct val="0"/>
              </a:spcBef>
              <a:spcAft>
                <a:spcPct val="0"/>
              </a:spcAft>
              <a:defRPr sz="675">
                <a:solidFill>
                  <a:srgbClr val="003399"/>
                </a:solidFill>
                <a:latin typeface="Century Gothic" pitchFamily="34" charset="0"/>
              </a:defRPr>
            </a:lvl1pPr>
          </a:lstStyle>
          <a:p>
            <a:pPr>
              <a:defRPr/>
            </a:pPr>
            <a:fld id="{13A90394-E598-48EF-ABF6-331A4BCCBAA2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7" name="Footer Placeholder 4">
            <a:extLst/>
          </p:cNvPr>
          <p:cNvSpPr>
            <a:spLocks noGrp="1"/>
          </p:cNvSpPr>
          <p:nvPr>
            <p:ph type="ftr" sz="quarter" idx="16"/>
            <p:custDataLst>
              <p:tags r:id="rId2"/>
            </p:custDataLst>
          </p:nvPr>
        </p:nvSpPr>
        <p:spPr/>
        <p:txBody>
          <a:bodyPr/>
          <a:lstStyle>
            <a:lvl1pPr algn="l" defTabSz="342900" fontAlgn="base">
              <a:spcBef>
                <a:spcPct val="0"/>
              </a:spcBef>
              <a:spcAft>
                <a:spcPct val="0"/>
              </a:spcAft>
              <a:defRPr sz="600">
                <a:solidFill>
                  <a:srgbClr val="998F86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ZA"/>
              <a:t>Stocktak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134155402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6" y="1412778"/>
            <a:ext cx="4060701" cy="4281441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6" y="5681850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00" b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80" y="1412778"/>
            <a:ext cx="4060701" cy="4281441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Slide Number Placeholder 5">
            <a:extLst/>
          </p:cNvPr>
          <p:cNvSpPr>
            <a:spLocks noGrp="1"/>
          </p:cNvSpPr>
          <p:nvPr>
            <p:ph type="sldNum" sz="quarter" idx="16"/>
            <p:custDataLst>
              <p:tags r:id="rId1"/>
            </p:custDataLst>
          </p:nvPr>
        </p:nvSpPr>
        <p:spPr/>
        <p:txBody>
          <a:bodyPr/>
          <a:lstStyle>
            <a:lvl1pPr algn="r" defTabSz="342900" fontAlgn="base">
              <a:spcBef>
                <a:spcPct val="0"/>
              </a:spcBef>
              <a:spcAft>
                <a:spcPct val="0"/>
              </a:spcAft>
              <a:defRPr sz="675">
                <a:solidFill>
                  <a:srgbClr val="003399"/>
                </a:solidFill>
                <a:latin typeface="Century Gothic" pitchFamily="34" charset="0"/>
              </a:defRPr>
            </a:lvl1pPr>
          </a:lstStyle>
          <a:p>
            <a:pPr>
              <a:defRPr/>
            </a:pPr>
            <a:fld id="{241D107D-E357-4E8F-B907-D10553B75921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8" name="Footer Placeholder 4">
            <a:extLst/>
          </p:cNvPr>
          <p:cNvSpPr>
            <a:spLocks noGrp="1"/>
          </p:cNvSpPr>
          <p:nvPr>
            <p:ph type="ftr" sz="quarter" idx="17"/>
            <p:custDataLst>
              <p:tags r:id="rId2"/>
            </p:custDataLst>
          </p:nvPr>
        </p:nvSpPr>
        <p:spPr/>
        <p:txBody>
          <a:bodyPr/>
          <a:lstStyle>
            <a:lvl1pPr algn="l" defTabSz="342900" fontAlgn="base">
              <a:spcBef>
                <a:spcPct val="0"/>
              </a:spcBef>
              <a:spcAft>
                <a:spcPct val="0"/>
              </a:spcAft>
              <a:defRPr sz="600">
                <a:solidFill>
                  <a:srgbClr val="998F86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ZA"/>
              <a:t>Stocktak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913550209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6" y="5681850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00" b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Slide Number Placeholder 5">
            <a:extLst/>
          </p:cNvPr>
          <p:cNvSpPr>
            <a:spLocks noGrp="1"/>
          </p:cNvSpPr>
          <p:nvPr>
            <p:ph type="sldNum" sz="quarter" idx="14"/>
            <p:custDataLst>
              <p:tags r:id="rId1"/>
            </p:custDataLst>
          </p:nvPr>
        </p:nvSpPr>
        <p:spPr/>
        <p:txBody>
          <a:bodyPr/>
          <a:lstStyle>
            <a:lvl1pPr algn="r" defTabSz="342900" fontAlgn="base">
              <a:spcBef>
                <a:spcPct val="0"/>
              </a:spcBef>
              <a:spcAft>
                <a:spcPct val="0"/>
              </a:spcAft>
              <a:defRPr sz="675">
                <a:solidFill>
                  <a:srgbClr val="003399"/>
                </a:solidFill>
                <a:latin typeface="Century Gothic" pitchFamily="34" charset="0"/>
              </a:defRPr>
            </a:lvl1pPr>
          </a:lstStyle>
          <a:p>
            <a:pPr>
              <a:defRPr/>
            </a:pPr>
            <a:fld id="{AF947C40-43DD-424D-A16D-A44F3D8B7A42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6" name="Footer Placeholder 4">
            <a:extLst/>
          </p:cNvPr>
          <p:cNvSpPr>
            <a:spLocks noGrp="1"/>
          </p:cNvSpPr>
          <p:nvPr>
            <p:ph type="ftr" sz="quarter" idx="15"/>
            <p:custDataLst>
              <p:tags r:id="rId2"/>
            </p:custDataLst>
          </p:nvPr>
        </p:nvSpPr>
        <p:spPr/>
        <p:txBody>
          <a:bodyPr/>
          <a:lstStyle>
            <a:lvl1pPr algn="l" defTabSz="342900" fontAlgn="base">
              <a:spcBef>
                <a:spcPct val="0"/>
              </a:spcBef>
              <a:spcAft>
                <a:spcPct val="0"/>
              </a:spcAft>
              <a:defRPr sz="600">
                <a:solidFill>
                  <a:srgbClr val="998F86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ZA"/>
              <a:t>Stocktak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44321209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/>
              <a:t>Game Changer Presentation</a:t>
            </a:r>
            <a:endParaRPr lang="en-GB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529556466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7150" y="5516563"/>
            <a:ext cx="9086850" cy="17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107" descr="C:\Users\Conny\Desktop\WCG\WCG - Logo\PNG\Logos blue\WCG - Logo - General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4639" y="6148388"/>
            <a:ext cx="1108075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11189" y="2276874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24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849328569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323851" y="1412775"/>
            <a:ext cx="2908573" cy="4680049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8"/>
            <a:ext cx="5472608" cy="4680049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>
            <a:extLst/>
          </p:cNvPr>
          <p:cNvSpPr>
            <a:spLocks noGrp="1"/>
          </p:cNvSpPr>
          <p:nvPr>
            <p:ph type="sldNum" sz="quarter" idx="16"/>
            <p:custDataLst>
              <p:tags r:id="rId1"/>
            </p:custDataLst>
          </p:nvPr>
        </p:nvSpPr>
        <p:spPr/>
        <p:txBody>
          <a:bodyPr/>
          <a:lstStyle>
            <a:lvl1pPr algn="r" defTabSz="342900" fontAlgn="base">
              <a:spcBef>
                <a:spcPct val="0"/>
              </a:spcBef>
              <a:spcAft>
                <a:spcPct val="0"/>
              </a:spcAft>
              <a:defRPr sz="675">
                <a:solidFill>
                  <a:srgbClr val="003399"/>
                </a:solidFill>
                <a:latin typeface="Century Gothic" pitchFamily="34" charset="0"/>
              </a:defRPr>
            </a:lvl1pPr>
          </a:lstStyle>
          <a:p>
            <a:pPr>
              <a:defRPr/>
            </a:pPr>
            <a:fld id="{86265EA3-D1A8-4617-99CA-D8284D959643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7" name="Footer Placeholder 4">
            <a:extLst/>
          </p:cNvPr>
          <p:cNvSpPr>
            <a:spLocks noGrp="1"/>
          </p:cNvSpPr>
          <p:nvPr>
            <p:ph type="ftr" sz="quarter" idx="17"/>
            <p:custDataLst>
              <p:tags r:id="rId2"/>
            </p:custDataLst>
          </p:nvPr>
        </p:nvSpPr>
        <p:spPr/>
        <p:txBody>
          <a:bodyPr/>
          <a:lstStyle>
            <a:lvl1pPr algn="l" defTabSz="342900" fontAlgn="base">
              <a:spcBef>
                <a:spcPct val="0"/>
              </a:spcBef>
              <a:spcAft>
                <a:spcPct val="0"/>
              </a:spcAft>
              <a:defRPr sz="600">
                <a:solidFill>
                  <a:srgbClr val="998F86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ZA"/>
              <a:t>Stocktak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185679425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6516217" y="1412776"/>
            <a:ext cx="2404517" cy="4680048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1" y="1412777"/>
            <a:ext cx="6004917" cy="4680048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5">
            <a:extLst/>
          </p:cNvPr>
          <p:cNvSpPr>
            <a:spLocks noGrp="1"/>
          </p:cNvSpPr>
          <p:nvPr>
            <p:ph type="sldNum" sz="quarter" idx="16"/>
            <p:custDataLst>
              <p:tags r:id="rId1"/>
            </p:custDataLst>
          </p:nvPr>
        </p:nvSpPr>
        <p:spPr/>
        <p:txBody>
          <a:bodyPr/>
          <a:lstStyle>
            <a:lvl1pPr algn="r" defTabSz="342900" fontAlgn="base">
              <a:spcBef>
                <a:spcPct val="0"/>
              </a:spcBef>
              <a:spcAft>
                <a:spcPct val="0"/>
              </a:spcAft>
              <a:defRPr sz="675">
                <a:solidFill>
                  <a:srgbClr val="003399"/>
                </a:solidFill>
                <a:latin typeface="Century Gothic" pitchFamily="34" charset="0"/>
              </a:defRPr>
            </a:lvl1pPr>
          </a:lstStyle>
          <a:p>
            <a:pPr>
              <a:defRPr/>
            </a:pPr>
            <a:fld id="{142524B1-CD97-4EB9-AD30-E6965AB97E8C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7" name="Footer Placeholder 4">
            <a:extLst/>
          </p:cNvPr>
          <p:cNvSpPr>
            <a:spLocks noGrp="1"/>
          </p:cNvSpPr>
          <p:nvPr>
            <p:ph type="ftr" sz="quarter" idx="17"/>
            <p:custDataLst>
              <p:tags r:id="rId2"/>
            </p:custDataLst>
          </p:nvPr>
        </p:nvSpPr>
        <p:spPr/>
        <p:txBody>
          <a:bodyPr/>
          <a:lstStyle>
            <a:lvl1pPr algn="l" defTabSz="342900" fontAlgn="base">
              <a:spcBef>
                <a:spcPct val="0"/>
              </a:spcBef>
              <a:spcAft>
                <a:spcPct val="0"/>
              </a:spcAft>
              <a:defRPr sz="600">
                <a:solidFill>
                  <a:srgbClr val="998F86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ZA"/>
              <a:t>Stocktak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543668616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1" y="3532181"/>
            <a:ext cx="8597205" cy="2551450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5">
            <a:extLst/>
          </p:cNvPr>
          <p:cNvSpPr>
            <a:spLocks noGrp="1"/>
          </p:cNvSpPr>
          <p:nvPr>
            <p:ph type="sldNum" sz="quarter" idx="17"/>
            <p:custDataLst>
              <p:tags r:id="rId1"/>
            </p:custDataLst>
          </p:nvPr>
        </p:nvSpPr>
        <p:spPr/>
        <p:txBody>
          <a:bodyPr/>
          <a:lstStyle>
            <a:lvl1pPr algn="r" defTabSz="342900" fontAlgn="base">
              <a:spcBef>
                <a:spcPct val="0"/>
              </a:spcBef>
              <a:spcAft>
                <a:spcPct val="0"/>
              </a:spcAft>
              <a:defRPr sz="675">
                <a:solidFill>
                  <a:srgbClr val="003399"/>
                </a:solidFill>
                <a:latin typeface="Century Gothic" pitchFamily="34" charset="0"/>
              </a:defRPr>
            </a:lvl1pPr>
          </a:lstStyle>
          <a:p>
            <a:pPr>
              <a:defRPr/>
            </a:pPr>
            <a:fld id="{D43B6058-3322-4674-BB94-98A0323BCCBD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8" name="Footer Placeholder 4">
            <a:extLst/>
          </p:cNvPr>
          <p:cNvSpPr>
            <a:spLocks noGrp="1"/>
          </p:cNvSpPr>
          <p:nvPr>
            <p:ph type="ftr" sz="quarter" idx="18"/>
            <p:custDataLst>
              <p:tags r:id="rId2"/>
            </p:custDataLst>
          </p:nvPr>
        </p:nvSpPr>
        <p:spPr/>
        <p:txBody>
          <a:bodyPr/>
          <a:lstStyle>
            <a:lvl1pPr algn="l" defTabSz="342900" fontAlgn="base">
              <a:spcBef>
                <a:spcPct val="0"/>
              </a:spcBef>
              <a:spcAft>
                <a:spcPct val="0"/>
              </a:spcAft>
              <a:defRPr sz="600">
                <a:solidFill>
                  <a:srgbClr val="998F86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ZA"/>
              <a:t>Stocktak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223103450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1" y="1412776"/>
            <a:ext cx="8597205" cy="2143224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5">
            <a:extLst/>
          </p:cNvPr>
          <p:cNvSpPr>
            <a:spLocks noGrp="1"/>
          </p:cNvSpPr>
          <p:nvPr>
            <p:ph type="sldNum" sz="quarter" idx="17"/>
            <p:custDataLst>
              <p:tags r:id="rId1"/>
            </p:custDataLst>
          </p:nvPr>
        </p:nvSpPr>
        <p:spPr/>
        <p:txBody>
          <a:bodyPr/>
          <a:lstStyle>
            <a:lvl1pPr algn="r" defTabSz="342900" fontAlgn="base">
              <a:spcBef>
                <a:spcPct val="0"/>
              </a:spcBef>
              <a:spcAft>
                <a:spcPct val="0"/>
              </a:spcAft>
              <a:defRPr sz="675">
                <a:solidFill>
                  <a:srgbClr val="003399"/>
                </a:solidFill>
                <a:latin typeface="Century Gothic" pitchFamily="34" charset="0"/>
              </a:defRPr>
            </a:lvl1pPr>
          </a:lstStyle>
          <a:p>
            <a:pPr>
              <a:defRPr/>
            </a:pPr>
            <a:fld id="{BEA3B4D7-72CE-4F76-9629-607BD2EF816A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8" name="Footer Placeholder 4">
            <a:extLst/>
          </p:cNvPr>
          <p:cNvSpPr>
            <a:spLocks noGrp="1"/>
          </p:cNvSpPr>
          <p:nvPr>
            <p:ph type="ftr" sz="quarter" idx="18"/>
            <p:custDataLst>
              <p:tags r:id="rId2"/>
            </p:custDataLst>
          </p:nvPr>
        </p:nvSpPr>
        <p:spPr/>
        <p:txBody>
          <a:bodyPr/>
          <a:lstStyle>
            <a:lvl1pPr algn="l" defTabSz="342900" fontAlgn="base">
              <a:spcBef>
                <a:spcPct val="0"/>
              </a:spcBef>
              <a:spcAft>
                <a:spcPct val="0"/>
              </a:spcAft>
              <a:defRPr sz="600">
                <a:solidFill>
                  <a:srgbClr val="998F86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ZA"/>
              <a:t>Stocktak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224371716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290288" y="3645024"/>
            <a:ext cx="2625529" cy="2304256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3292908" y="3645024"/>
            <a:ext cx="2625529" cy="2304256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6295527" y="3645024"/>
            <a:ext cx="2625529" cy="2304256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1" y="1412776"/>
            <a:ext cx="8597205" cy="2143224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>
            <a:extLst/>
          </p:cNvPr>
          <p:cNvSpPr>
            <a:spLocks noGrp="1"/>
          </p:cNvSpPr>
          <p:nvPr>
            <p:ph type="sldNum" sz="quarter" idx="18"/>
            <p:custDataLst>
              <p:tags r:id="rId1"/>
            </p:custDataLst>
          </p:nvPr>
        </p:nvSpPr>
        <p:spPr/>
        <p:txBody>
          <a:bodyPr/>
          <a:lstStyle>
            <a:lvl1pPr algn="r" defTabSz="342900" fontAlgn="base">
              <a:spcBef>
                <a:spcPct val="0"/>
              </a:spcBef>
              <a:spcAft>
                <a:spcPct val="0"/>
              </a:spcAft>
              <a:defRPr sz="675">
                <a:solidFill>
                  <a:srgbClr val="003399"/>
                </a:solidFill>
                <a:latin typeface="Century Gothic" pitchFamily="34" charset="0"/>
              </a:defRPr>
            </a:lvl1pPr>
          </a:lstStyle>
          <a:p>
            <a:pPr>
              <a:defRPr/>
            </a:pPr>
            <a:fld id="{8E434CCC-87C8-43CB-8F0F-31EC24908FFD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9" name="Footer Placeholder 4">
            <a:extLst/>
          </p:cNvPr>
          <p:cNvSpPr>
            <a:spLocks noGrp="1"/>
          </p:cNvSpPr>
          <p:nvPr>
            <p:ph type="ftr" sz="quarter" idx="19"/>
            <p:custDataLst>
              <p:tags r:id="rId2"/>
            </p:custDataLst>
          </p:nvPr>
        </p:nvSpPr>
        <p:spPr/>
        <p:txBody>
          <a:bodyPr/>
          <a:lstStyle>
            <a:lvl1pPr algn="l" defTabSz="342900" fontAlgn="base">
              <a:spcBef>
                <a:spcPct val="0"/>
              </a:spcBef>
              <a:spcAft>
                <a:spcPct val="0"/>
              </a:spcAft>
              <a:defRPr sz="600">
                <a:solidFill>
                  <a:srgbClr val="998F86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ZA"/>
              <a:t>Stocktak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164264828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290288" y="1412776"/>
            <a:ext cx="2625529" cy="2160240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3292908" y="1412776"/>
            <a:ext cx="2625529" cy="2160240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6295527" y="1412776"/>
            <a:ext cx="2625529" cy="2160240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1" y="3703287"/>
            <a:ext cx="8597205" cy="2380344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>
            <a:extLst/>
          </p:cNvPr>
          <p:cNvSpPr>
            <a:spLocks noGrp="1"/>
          </p:cNvSpPr>
          <p:nvPr>
            <p:ph type="sldNum" sz="quarter" idx="18"/>
            <p:custDataLst>
              <p:tags r:id="rId1"/>
            </p:custDataLst>
          </p:nvPr>
        </p:nvSpPr>
        <p:spPr/>
        <p:txBody>
          <a:bodyPr/>
          <a:lstStyle>
            <a:lvl1pPr algn="r" defTabSz="342900" fontAlgn="base">
              <a:spcBef>
                <a:spcPct val="0"/>
              </a:spcBef>
              <a:spcAft>
                <a:spcPct val="0"/>
              </a:spcAft>
              <a:defRPr sz="675">
                <a:solidFill>
                  <a:srgbClr val="003399"/>
                </a:solidFill>
                <a:latin typeface="Century Gothic" pitchFamily="34" charset="0"/>
              </a:defRPr>
            </a:lvl1pPr>
          </a:lstStyle>
          <a:p>
            <a:pPr>
              <a:defRPr/>
            </a:pPr>
            <a:fld id="{07D8B68C-4E28-4564-8C3B-1BDDF7F48B9A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9" name="Footer Placeholder 4">
            <a:extLst/>
          </p:cNvPr>
          <p:cNvSpPr>
            <a:spLocks noGrp="1"/>
          </p:cNvSpPr>
          <p:nvPr>
            <p:ph type="ftr" sz="quarter" idx="19"/>
            <p:custDataLst>
              <p:tags r:id="rId2"/>
            </p:custDataLst>
          </p:nvPr>
        </p:nvSpPr>
        <p:spPr/>
        <p:txBody>
          <a:bodyPr/>
          <a:lstStyle>
            <a:lvl1pPr algn="l" defTabSz="342900" fontAlgn="base">
              <a:spcBef>
                <a:spcPct val="0"/>
              </a:spcBef>
              <a:spcAft>
                <a:spcPct val="0"/>
              </a:spcAft>
              <a:defRPr sz="600">
                <a:solidFill>
                  <a:srgbClr val="998F86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ZA"/>
              <a:t>Stocktak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933016573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323851" y="1412776"/>
            <a:ext cx="2908573" cy="1512168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323851" y="2975180"/>
            <a:ext cx="2908573" cy="1512168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323851" y="4537584"/>
            <a:ext cx="2908573" cy="1541098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>
            <a:extLst/>
          </p:cNvPr>
          <p:cNvSpPr>
            <a:spLocks noGrp="1"/>
          </p:cNvSpPr>
          <p:nvPr>
            <p:ph type="sldNum" sz="quarter" idx="18"/>
            <p:custDataLst>
              <p:tags r:id="rId1"/>
            </p:custDataLst>
          </p:nvPr>
        </p:nvSpPr>
        <p:spPr/>
        <p:txBody>
          <a:bodyPr/>
          <a:lstStyle>
            <a:lvl1pPr algn="r" defTabSz="342900" fontAlgn="base">
              <a:spcBef>
                <a:spcPct val="0"/>
              </a:spcBef>
              <a:spcAft>
                <a:spcPct val="0"/>
              </a:spcAft>
              <a:defRPr sz="675">
                <a:solidFill>
                  <a:srgbClr val="003399"/>
                </a:solidFill>
                <a:latin typeface="Century Gothic" pitchFamily="34" charset="0"/>
              </a:defRPr>
            </a:lvl1pPr>
          </a:lstStyle>
          <a:p>
            <a:pPr>
              <a:defRPr/>
            </a:pPr>
            <a:fld id="{07EB695D-F6E4-4949-85AC-8E1F28122CB7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9" name="Footer Placeholder 4">
            <a:extLst/>
          </p:cNvPr>
          <p:cNvSpPr>
            <a:spLocks noGrp="1"/>
          </p:cNvSpPr>
          <p:nvPr>
            <p:ph type="ftr" sz="quarter" idx="19"/>
            <p:custDataLst>
              <p:tags r:id="rId2"/>
            </p:custDataLst>
          </p:nvPr>
        </p:nvSpPr>
        <p:spPr/>
        <p:txBody>
          <a:bodyPr/>
          <a:lstStyle>
            <a:lvl1pPr algn="l" defTabSz="342900" fontAlgn="base">
              <a:spcBef>
                <a:spcPct val="0"/>
              </a:spcBef>
              <a:spcAft>
                <a:spcPct val="0"/>
              </a:spcAft>
              <a:defRPr sz="600">
                <a:solidFill>
                  <a:srgbClr val="998F86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ZA"/>
              <a:t>Stocktak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4002640708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6012483" y="1412776"/>
            <a:ext cx="2908573" cy="1512168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6012483" y="2976533"/>
            <a:ext cx="2908573" cy="1512168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6012483" y="4540291"/>
            <a:ext cx="2908573" cy="1548783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1" y="1412779"/>
            <a:ext cx="5553983" cy="4665905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Slide Number Placeholder 5">
            <a:extLst/>
          </p:cNvPr>
          <p:cNvSpPr>
            <a:spLocks noGrp="1"/>
          </p:cNvSpPr>
          <p:nvPr>
            <p:ph type="sldNum" sz="quarter" idx="18"/>
            <p:custDataLst>
              <p:tags r:id="rId1"/>
            </p:custDataLst>
          </p:nvPr>
        </p:nvSpPr>
        <p:spPr/>
        <p:txBody>
          <a:bodyPr/>
          <a:lstStyle>
            <a:lvl1pPr algn="r" defTabSz="342900" fontAlgn="base">
              <a:spcBef>
                <a:spcPct val="0"/>
              </a:spcBef>
              <a:spcAft>
                <a:spcPct val="0"/>
              </a:spcAft>
              <a:defRPr sz="675">
                <a:solidFill>
                  <a:srgbClr val="003399"/>
                </a:solidFill>
                <a:latin typeface="Century Gothic" pitchFamily="34" charset="0"/>
              </a:defRPr>
            </a:lvl1pPr>
          </a:lstStyle>
          <a:p>
            <a:pPr>
              <a:defRPr/>
            </a:pPr>
            <a:fld id="{40E385B9-B103-4D26-A1F4-7D5BE9D15360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9" name="Footer Placeholder 4">
            <a:extLst/>
          </p:cNvPr>
          <p:cNvSpPr>
            <a:spLocks noGrp="1"/>
          </p:cNvSpPr>
          <p:nvPr>
            <p:ph type="ftr" sz="quarter" idx="19"/>
            <p:custDataLst>
              <p:tags r:id="rId2"/>
            </p:custDataLst>
          </p:nvPr>
        </p:nvSpPr>
        <p:spPr/>
        <p:txBody>
          <a:bodyPr/>
          <a:lstStyle>
            <a:lvl1pPr algn="l" defTabSz="342900" fontAlgn="base">
              <a:spcBef>
                <a:spcPct val="0"/>
              </a:spcBef>
              <a:spcAft>
                <a:spcPct val="0"/>
              </a:spcAft>
              <a:defRPr sz="600">
                <a:solidFill>
                  <a:srgbClr val="998F86"/>
                </a:solidFill>
                <a:latin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ZA"/>
              <a:t>Stocktak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262785429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/>
          </p:cNvPr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9" name="Rectangle 8">
              <a:extLst/>
            </p:cNvPr>
            <p:cNvSpPr/>
            <p:nvPr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350">
                <a:solidFill>
                  <a:prstClr val="white"/>
                </a:solidFill>
              </a:endParaRPr>
            </a:p>
          </p:txBody>
        </p:sp>
        <p:pic>
          <p:nvPicPr>
            <p:cNvPr id="10" name="Picture 9">
              <a:extLst/>
            </p:cNvPr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1" name="Rectangle 14">
            <a:extLst/>
          </p:cNvPr>
          <p:cNvSpPr>
            <a:spLocks noChangeArrowheads="1"/>
          </p:cNvSpPr>
          <p:nvPr userDrawn="1"/>
        </p:nvSpPr>
        <p:spPr bwMode="auto">
          <a:xfrm>
            <a:off x="2835276" y="3497263"/>
            <a:ext cx="401638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27000" tIns="54000" rIns="27000" bIns="5400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685800">
              <a:spcBef>
                <a:spcPts val="225"/>
              </a:spcBef>
              <a:buFont typeface="Arial" panose="020B0604020202020204" pitchFamily="34" charset="0"/>
              <a:buNone/>
              <a:defRPr/>
            </a:pPr>
            <a:r>
              <a:rPr lang="en-GB" altLang="en-US" sz="825" b="1">
                <a:solidFill>
                  <a:srgbClr val="003399"/>
                </a:solidFill>
                <a:latin typeface="Century Gothic" panose="020B0502020202020204" pitchFamily="34" charset="0"/>
              </a:rPr>
              <a:t>Tel:</a:t>
            </a:r>
          </a:p>
        </p:txBody>
      </p:sp>
      <p:sp>
        <p:nvSpPr>
          <p:cNvPr id="15" name="Rectangle 15">
            <a:extLst/>
          </p:cNvPr>
          <p:cNvSpPr>
            <a:spLocks noChangeArrowheads="1"/>
          </p:cNvSpPr>
          <p:nvPr userDrawn="1"/>
        </p:nvSpPr>
        <p:spPr bwMode="auto">
          <a:xfrm>
            <a:off x="4779964" y="3497263"/>
            <a:ext cx="4032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27000" tIns="54000" rIns="27000" bIns="5400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685800">
              <a:spcBef>
                <a:spcPts val="225"/>
              </a:spcBef>
              <a:buFont typeface="Arial" panose="020B0604020202020204" pitchFamily="34" charset="0"/>
              <a:buNone/>
              <a:defRPr/>
            </a:pPr>
            <a:r>
              <a:rPr lang="en-GB" altLang="en-US" sz="825" b="1">
                <a:solidFill>
                  <a:srgbClr val="003399"/>
                </a:solidFill>
                <a:latin typeface="Century Gothic" panose="020B0502020202020204" pitchFamily="34" charset="0"/>
              </a:rPr>
              <a:t>Fax:</a:t>
            </a:r>
          </a:p>
        </p:txBody>
      </p:sp>
      <p:sp>
        <p:nvSpPr>
          <p:cNvPr id="17" name="Rectangle 16">
            <a:extLst/>
          </p:cNvPr>
          <p:cNvSpPr>
            <a:spLocks noChangeArrowheads="1"/>
          </p:cNvSpPr>
          <p:nvPr userDrawn="1"/>
        </p:nvSpPr>
        <p:spPr bwMode="auto">
          <a:xfrm>
            <a:off x="2835275" y="4043365"/>
            <a:ext cx="3733800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27000" tIns="54000" rIns="27000" bIns="5400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685800">
              <a:spcBef>
                <a:spcPts val="225"/>
              </a:spcBef>
              <a:buFont typeface="Arial" panose="020B0604020202020204" pitchFamily="34" charset="0"/>
              <a:buNone/>
              <a:defRPr/>
            </a:pPr>
            <a:r>
              <a:rPr lang="en-GB" altLang="en-US" sz="825" b="1">
                <a:solidFill>
                  <a:srgbClr val="003399"/>
                </a:solidFill>
                <a:latin typeface="Century Gothic" panose="020B0502020202020204" pitchFamily="34" charset="0"/>
              </a:rPr>
              <a:t>www.westerncape.gov.za</a:t>
            </a:r>
          </a:p>
        </p:txBody>
      </p:sp>
      <p:pic>
        <p:nvPicPr>
          <p:cNvPr id="19" name="Picture 3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135189" y="1735140"/>
            <a:ext cx="2843212" cy="1082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0" name="Rectangle 18">
            <a:extLst/>
          </p:cNvPr>
          <p:cNvSpPr>
            <a:spLocks noChangeArrowheads="1"/>
          </p:cNvSpPr>
          <p:nvPr userDrawn="1"/>
        </p:nvSpPr>
        <p:spPr bwMode="auto">
          <a:xfrm>
            <a:off x="295276" y="565151"/>
            <a:ext cx="1848583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685800">
              <a:defRPr/>
            </a:pPr>
            <a:r>
              <a:rPr lang="en-US" altLang="en-US" sz="2400">
                <a:solidFill>
                  <a:srgbClr val="FFFFFF"/>
                </a:solidFill>
                <a:latin typeface="Century Gothic" panose="020B0502020202020204" pitchFamily="34" charset="0"/>
              </a:rPr>
              <a:t>Contact Us</a:t>
            </a:r>
            <a:endParaRPr lang="en-GB" altLang="en-US" sz="1800">
              <a:solidFill>
                <a:srgbClr val="FFFFFF"/>
              </a:solidFill>
              <a:latin typeface="Century Gothic" panose="020B0502020202020204" pitchFamily="34" charset="0"/>
            </a:endParaRP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834998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05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834998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825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825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13012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825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2834998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825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2834997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825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76981478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/>
              <a:t>Game Changer Presentation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145850773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/>
          </p:cNvPr>
          <p:cNvSpPr txBox="1">
            <a:spLocks/>
          </p:cNvSpPr>
          <p:nvPr userDrawn="1"/>
        </p:nvSpPr>
        <p:spPr>
          <a:xfrm>
            <a:off x="1763713" y="3860802"/>
            <a:ext cx="7200900" cy="1084263"/>
          </a:xfrm>
          <a:prstGeom prst="rect">
            <a:avLst/>
          </a:prstGeom>
        </p:spPr>
        <p:txBody>
          <a:bodyPr wrap="none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fontAlgn="auto">
              <a:spcAft>
                <a:spcPts val="1800"/>
              </a:spcAft>
              <a:defRPr/>
            </a:pPr>
            <a:r>
              <a:rPr lang="en-US" sz="24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3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3224213"/>
            <a:ext cx="9144000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3244463685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R0G51B153-Powerpoint background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78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985964" y="2085975"/>
            <a:ext cx="7156450" cy="146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1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57201" y="422275"/>
            <a:ext cx="4435475" cy="137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985914" y="2934760"/>
            <a:ext cx="6472286" cy="1312638"/>
          </a:xfrm>
        </p:spPr>
        <p:txBody>
          <a:bodyPr anchor="t">
            <a:normAutofit/>
          </a:bodyPr>
          <a:lstStyle>
            <a:lvl1pPr algn="l">
              <a:defRPr sz="2700" b="0" i="0">
                <a:solidFill>
                  <a:schemeClr val="bg1"/>
                </a:solidFill>
                <a:latin typeface="Century Gothic"/>
                <a:cs typeface="Century Gothic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985914" y="4375460"/>
            <a:ext cx="5786486" cy="1920934"/>
          </a:xfrm>
        </p:spPr>
        <p:txBody>
          <a:bodyPr>
            <a:normAutofit/>
          </a:bodyPr>
          <a:lstStyle>
            <a:lvl1pPr marL="0" indent="0" algn="l">
              <a:buNone/>
              <a:defRPr sz="1800" b="0" i="0">
                <a:solidFill>
                  <a:srgbClr val="FFFFFF"/>
                </a:solidFill>
                <a:latin typeface="Century Gothic"/>
                <a:cs typeface="Century Gothic"/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xmlns="" val="2417448438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/>
          </a:p>
        </p:txBody>
      </p:sp>
      <p:sp>
        <p:nvSpPr>
          <p:cNvPr id="3" name="Holder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A194F9B-3AE2-4D0F-BB8E-4AEDB2B854E7}" type="datetimeFigureOut">
              <a:rPr lang="en-US"/>
              <a:pPr>
                <a:defRPr/>
              </a:pPr>
              <a:t>8/8/2019</a:t>
            </a:fld>
            <a:endParaRPr lang="en-US"/>
          </a:p>
        </p:txBody>
      </p:sp>
      <p:sp>
        <p:nvSpPr>
          <p:cNvPr id="4" name="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0EE171A-2AA6-4013-BA21-94C19D680492}" type="slidenum">
              <a:rPr/>
              <a:pPr>
                <a:defRPr/>
              </a:pPr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xmlns="" val="3299304051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3971849" y="1379956"/>
            <a:ext cx="1200305" cy="1661993"/>
          </a:xfrm>
          <a:prstGeom prst="rect">
            <a:avLst/>
          </a:prstGeom>
        </p:spPr>
        <p:txBody>
          <a:bodyPr/>
          <a:lstStyle>
            <a:lvl1pPr>
              <a:defRPr sz="8100" b="1" i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371600" y="3840483"/>
            <a:ext cx="6400800" cy="276999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endParaRPr/>
          </a:p>
        </p:txBody>
      </p:sp>
      <p:sp>
        <p:nvSpPr>
          <p:cNvPr id="6" name="Holder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A4906311-167B-4182-B0C4-7F960B37AA24}" type="datetimeFigureOut">
              <a:rPr lang="en-US"/>
              <a:pPr>
                <a:defRPr/>
              </a:pPr>
              <a:t>8/8/2019</a:t>
            </a:fld>
            <a:endParaRPr lang="en-US"/>
          </a:p>
        </p:txBody>
      </p:sp>
      <p:sp>
        <p:nvSpPr>
          <p:cNvPr id="7" name="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>
              <a:defRPr/>
            </a:pPr>
            <a:fld id="{AFA9593C-679D-46E5-B642-9B8DBB9461FA}" type="slidenum">
              <a:rPr/>
              <a:pPr>
                <a:defRPr/>
              </a:pPr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xmlns="" val="218064982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/>
              <a:t>Game Changer Presentation</a:t>
            </a:r>
            <a:endParaRPr lang="en-GB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13613014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57150" y="5516880"/>
            <a:ext cx="9086850" cy="170799"/>
          </a:xfrm>
          <a:prstGeom prst="rect">
            <a:avLst/>
          </a:prstGeom>
        </p:spPr>
      </p:pic>
      <p:pic>
        <p:nvPicPr>
          <p:cNvPr id="12" name="Picture 107" descr="C:\Users\Conny\Desktop\WCG\WCG - Logo\PNG\Logos blue\WCG - Logo - General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21244099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000091"/>
                </a:solidFill>
                <a:latin typeface="Century Gothic"/>
                <a:cs typeface="Century Gothic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600" b="0" i="0">
                <a:solidFill>
                  <a:schemeClr val="tx1"/>
                </a:solidFill>
                <a:latin typeface="Century Gothic"/>
                <a:cs typeface="Century Gothic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pPr/>
              <a:t>8/8/2019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900" b="0" i="0">
                <a:solidFill>
                  <a:srgbClr val="003399"/>
                </a:solidFill>
                <a:latin typeface="Century Gothic"/>
                <a:cs typeface="Century Gothic"/>
              </a:defRPr>
            </a:lvl1pPr>
          </a:lstStyle>
          <a:p>
            <a:pPr marL="25400">
              <a:lnSpc>
                <a:spcPct val="100000"/>
              </a:lnSpc>
              <a:spcBef>
                <a:spcPts val="105"/>
              </a:spcBef>
            </a:pPr>
            <a:fld id="{81D60167-4931-47E6-BA6A-407CBD079E47}" type="slidenum">
              <a:rPr dirty="0"/>
              <a:pPr marL="25400">
                <a:lnSpc>
                  <a:spcPct val="100000"/>
                </a:lnSpc>
                <a:spcBef>
                  <a:spcPts val="105"/>
                </a:spcBef>
              </a:pPr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/>
              <a:t>Game Changer Presentation</a:t>
            </a:r>
            <a:endParaRPr lang="en-GB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68097779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/>
              <a:t>Game Changer Presentation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05770659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/>
              <a:t>Game Changer Presentation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76897399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/>
              <a:t>Game Changer Presentation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89960363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/>
              <a:t>Game Changer Presentation</a:t>
            </a:r>
            <a:endParaRPr lang="en-GB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99802186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/>
              <a:t>Game Changer Presentation</a:t>
            </a:r>
            <a:endParaRPr lang="en-GB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02621452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/>
              <a:t>Game Changer Presentation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76835993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/>
              <a:t>Game Changer Presentation</a:t>
            </a:r>
            <a:endParaRPr lang="en-GB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9732933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2834997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4780436" y="3497483"/>
            <a:ext cx="402674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2834996" y="4043102"/>
            <a:ext cx="373405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 lvl="0" indent="0"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chemeClr val="tx2"/>
                </a:solidFill>
                <a:latin typeface="Century Gothic" pitchFamily="34" charset="0"/>
              </a:rPr>
              <a:t>www.westerncape.gov.za</a:t>
            </a:r>
          </a:p>
        </p:txBody>
      </p:sp>
      <p:pic>
        <p:nvPicPr>
          <p:cNvPr id="21" name="Picture 3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135026" y="1734838"/>
            <a:ext cx="2842836" cy="10829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Rectangle 5"/>
          <p:cNvSpPr/>
          <p:nvPr userDrawn="1"/>
        </p:nvSpPr>
        <p:spPr>
          <a:xfrm>
            <a:off x="295275" y="565701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kumimoji="0" lang="en-US" sz="32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itchFamily="34" charset="0"/>
                <a:ea typeface="+mj-ea"/>
                <a:cs typeface="+mj-cs"/>
              </a:rPr>
              <a:t>Contact Us</a:t>
            </a:r>
            <a:endParaRPr lang="en-GB" sz="2400" b="0" dirty="0">
              <a:solidFill>
                <a:schemeClr val="bg1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</p:spTree>
    <p:extLst>
      <p:ext uri="{BB962C8B-B14F-4D97-AF65-F5344CB8AC3E}">
        <p14:creationId xmlns:p14="http://schemas.microsoft.com/office/powerpoint/2010/main" xmlns="" val="364281926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1763688" y="3861048"/>
            <a:ext cx="7200800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b="0" cap="none" baseline="0" dirty="0">
                <a:solidFill>
                  <a:prstClr val="white"/>
                </a:solidFill>
                <a:latin typeface="Century Gothic"/>
                <a:cs typeface="Century Gothic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3223800"/>
            <a:ext cx="9144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7105238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299530" y="806849"/>
            <a:ext cx="8844469" cy="198555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k object 17"/>
          <p:cNvSpPr/>
          <p:nvPr/>
        </p:nvSpPr>
        <p:spPr>
          <a:xfrm>
            <a:off x="274320" y="6149340"/>
            <a:ext cx="1109472" cy="34594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000091"/>
                </a:solidFill>
                <a:latin typeface="Century Gothic"/>
                <a:cs typeface="Century Gothic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515823" y="1505203"/>
            <a:ext cx="3305810" cy="42392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200" b="0" i="0">
                <a:solidFill>
                  <a:srgbClr val="003399"/>
                </a:solidFill>
                <a:latin typeface="Century Gothic"/>
                <a:cs typeface="Century Gothic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577340"/>
            <a:ext cx="397764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pPr/>
              <a:t>8/8/2019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900" b="0" i="0">
                <a:solidFill>
                  <a:srgbClr val="003399"/>
                </a:solidFill>
                <a:latin typeface="Century Gothic"/>
                <a:cs typeface="Century Gothic"/>
              </a:defRPr>
            </a:lvl1pPr>
          </a:lstStyle>
          <a:p>
            <a:pPr marL="25400">
              <a:lnSpc>
                <a:spcPct val="100000"/>
              </a:lnSpc>
              <a:spcBef>
                <a:spcPts val="105"/>
              </a:spcBef>
            </a:pPr>
            <a:fld id="{81D60167-4931-47E6-BA6A-407CBD079E47}" type="slidenum">
              <a:rPr dirty="0"/>
              <a:pPr marL="25400">
                <a:lnSpc>
                  <a:spcPct val="100000"/>
                </a:lnSpc>
                <a:spcBef>
                  <a:spcPts val="105"/>
                </a:spcBef>
              </a:pPr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2586038"/>
            <a:ext cx="9144000" cy="493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5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4014" y="382590"/>
            <a:ext cx="5400675" cy="1576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1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tIns="0" bIns="0" anchor="b">
            <a:normAutofit/>
          </a:bodyPr>
          <a:lstStyle>
            <a:lvl1pPr algn="r">
              <a:spcBef>
                <a:spcPts val="225"/>
              </a:spcBef>
              <a:defRPr sz="195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tIns="0" bIns="0" anchor="ctr">
            <a:normAutofit/>
          </a:bodyPr>
          <a:lstStyle>
            <a:lvl1pPr marL="0" indent="0" algn="r">
              <a:buNone/>
              <a:defRPr sz="1500" b="0"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3635548" y="5398047"/>
            <a:ext cx="1584176" cy="365125"/>
          </a:xfrm>
        </p:spPr>
        <p:txBody>
          <a:bodyPr>
            <a:normAutofit/>
          </a:bodyPr>
          <a:lstStyle>
            <a:lvl1pPr algn="r">
              <a:defRPr sz="9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/>
          </p:nvPr>
        </p:nvSpPr>
        <p:spPr>
          <a:xfrm>
            <a:off x="5220072" y="5398047"/>
            <a:ext cx="1944216" cy="365125"/>
          </a:xfrm>
        </p:spPr>
        <p:txBody>
          <a:bodyPr>
            <a:normAutofit/>
          </a:bodyPr>
          <a:lstStyle>
            <a:lvl1pPr algn="r">
              <a:defRPr sz="9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Date Placeholder 11"/>
          <p:cNvSpPr>
            <a:spLocks noGrp="1"/>
          </p:cNvSpPr>
          <p:nvPr>
            <p:ph type="dt" sz="half" idx="12"/>
          </p:nvPr>
        </p:nvSpPr>
        <p:spPr>
          <a:xfrm>
            <a:off x="7164388" y="5397502"/>
            <a:ext cx="15113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defTabSz="685800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prstClr val="white"/>
                </a:solidFill>
                <a:latin typeface="Century Gothic"/>
                <a:cs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9328616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9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3097" name="think-cell Slide" r:id="rId7" imgW="270" imgH="270" progId="">
              <p:embed/>
            </p:oleObj>
          </a:graphicData>
        </a:graphic>
      </p:graphicFrame>
      <p:pic>
        <p:nvPicPr>
          <p:cNvPr id="5" name="Picture 8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739777"/>
            <a:ext cx="9144000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6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2060576" y="6467477"/>
            <a:ext cx="1944688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4000" tIns="54000" rIns="0" b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685800">
              <a:defRPr/>
            </a:pPr>
            <a:r>
              <a:rPr lang="en-US" sz="600">
                <a:solidFill>
                  <a:srgbClr val="998F8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© Western Cape Government 2012  |</a:t>
            </a:r>
            <a:endParaRPr lang="en-GB" sz="600">
              <a:solidFill>
                <a:srgbClr val="998F86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107" descr="C:\Users\Conny\Desktop\WCG\WCG - Logo\PNG\Logos blue\WCG - Logo - General - Blue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4639" y="6148388"/>
            <a:ext cx="1108075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6" y="1196754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1"/>
            <p:custDataLst>
              <p:tags r:id="rId4"/>
            </p:custDataLst>
          </p:nvPr>
        </p:nvSpPr>
        <p:spPr/>
        <p:txBody>
          <a:bodyPr/>
          <a:lstStyle>
            <a:lvl1pPr algn="r" defTabSz="342900" eaLnBrk="0" fontAlgn="base" hangingPunct="0">
              <a:spcBef>
                <a:spcPct val="0"/>
              </a:spcBef>
              <a:spcAft>
                <a:spcPct val="0"/>
              </a:spcAft>
              <a:defRPr sz="675">
                <a:solidFill>
                  <a:srgbClr val="003399"/>
                </a:solidFill>
                <a:latin typeface="Century Gothic" pitchFamily="34" charset="0"/>
                <a:cs typeface="+mn-cs"/>
              </a:defRPr>
            </a:lvl1pPr>
          </a:lstStyle>
          <a:p>
            <a:pPr>
              <a:defRPr/>
            </a:pPr>
            <a:fld id="{FAF24379-9924-49C0-B184-2D56CDA7C3E4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2"/>
            <p:custDataLst>
              <p:tags r:id="rId5"/>
            </p:custDataLst>
          </p:nvPr>
        </p:nvSpPr>
        <p:spPr/>
        <p:txBody>
          <a:bodyPr/>
          <a:lstStyle>
            <a:lvl1pPr algn="l" defTabSz="3429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rgbClr val="998F86"/>
                </a:solidFill>
                <a:latin typeface="Arial" panose="020B0604020202020204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ZA"/>
              <a:t>Stocktak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08176823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9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4121" name="think-cell Slide" r:id="rId7" imgW="270" imgH="270" progId="">
              <p:embed/>
            </p:oleObj>
          </a:graphicData>
        </a:graphic>
      </p:graphicFrame>
      <p:pic>
        <p:nvPicPr>
          <p:cNvPr id="6" name="Picture 8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739777"/>
            <a:ext cx="9144000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6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2060576" y="6467477"/>
            <a:ext cx="1944688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4000" tIns="54000" rIns="0" b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685800">
              <a:defRPr/>
            </a:pPr>
            <a:r>
              <a:rPr lang="en-US" sz="600">
                <a:solidFill>
                  <a:srgbClr val="998F8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© Western Cape Government 2012  |</a:t>
            </a:r>
            <a:endParaRPr lang="en-GB" sz="600">
              <a:solidFill>
                <a:srgbClr val="998F86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107" descr="C:\Users\Conny\Desktop\WCG\WCG - Logo\PNG\Logos blue\WCG - Logo - General - Blue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4639" y="6148388"/>
            <a:ext cx="1108075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6" y="1196754"/>
            <a:ext cx="4060701" cy="4896073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80" y="1196754"/>
            <a:ext cx="4060701" cy="4896073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>
            <a:lvl1pPr algn="r" defTabSz="342900" eaLnBrk="0" fontAlgn="base" hangingPunct="0">
              <a:spcBef>
                <a:spcPct val="0"/>
              </a:spcBef>
              <a:spcAft>
                <a:spcPct val="0"/>
              </a:spcAft>
              <a:defRPr sz="675">
                <a:solidFill>
                  <a:srgbClr val="003399"/>
                </a:solidFill>
                <a:latin typeface="Century Gothic" pitchFamily="34" charset="0"/>
                <a:cs typeface="+mn-cs"/>
              </a:defRPr>
            </a:lvl1pPr>
          </a:lstStyle>
          <a:p>
            <a:pPr>
              <a:defRPr/>
            </a:pPr>
            <a:fld id="{B09EC051-1E5B-4453-8223-D135457E1F7C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3"/>
            <p:custDataLst>
              <p:tags r:id="rId5"/>
            </p:custDataLst>
          </p:nvPr>
        </p:nvSpPr>
        <p:spPr/>
        <p:txBody>
          <a:bodyPr/>
          <a:lstStyle>
            <a:lvl1pPr algn="l" defTabSz="3429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rgbClr val="998F86"/>
                </a:solidFill>
                <a:latin typeface="Arial" panose="020B0604020202020204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ZA"/>
              <a:t>Stocktak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99140499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9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5145" name="think-cell Slide" r:id="rId5" imgW="270" imgH="270" progId="">
              <p:embed/>
            </p:oleObj>
          </a:graphicData>
        </a:graphic>
      </p:graphicFrame>
      <p:pic>
        <p:nvPicPr>
          <p:cNvPr id="4" name="Picture 8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739777"/>
            <a:ext cx="9144000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07" descr="C:\Users\Conny\Desktop\WCG\WCG - Logo\PNG\Logos blue\WCG - Logo - General - Blue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4639" y="6148388"/>
            <a:ext cx="1108075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 algn="r" defTabSz="342900" eaLnBrk="0" fontAlgn="base" hangingPunct="0">
              <a:spcBef>
                <a:spcPct val="0"/>
              </a:spcBef>
              <a:spcAft>
                <a:spcPct val="0"/>
              </a:spcAft>
              <a:defRPr sz="675">
                <a:solidFill>
                  <a:srgbClr val="003399"/>
                </a:solidFill>
                <a:latin typeface="Century Gothic" pitchFamily="34" charset="0"/>
                <a:cs typeface="+mn-cs"/>
              </a:defRPr>
            </a:lvl1pPr>
          </a:lstStyle>
          <a:p>
            <a:pPr>
              <a:defRPr/>
            </a:pPr>
            <a:fld id="{A816CAF5-7F3E-4333-9E92-DB79F23182A9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1442454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9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6169" name="think-cell Slide" r:id="rId7" imgW="270" imgH="270" progId="">
              <p:embed/>
            </p:oleObj>
          </a:graphicData>
        </a:graphic>
      </p:graphicFrame>
      <p:pic>
        <p:nvPicPr>
          <p:cNvPr id="7" name="Picture 8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739777"/>
            <a:ext cx="9144000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6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2060576" y="6467477"/>
            <a:ext cx="1944688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4000" tIns="54000" rIns="0" b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685800">
              <a:defRPr/>
            </a:pPr>
            <a:r>
              <a:rPr lang="en-US" sz="600">
                <a:solidFill>
                  <a:srgbClr val="998F8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© Western Cape Government 2012  |</a:t>
            </a:r>
            <a:endParaRPr lang="en-GB" sz="600">
              <a:solidFill>
                <a:srgbClr val="998F86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Picture 107" descr="C:\Users\Conny\Desktop\WCG\WCG - Logo\PNG\Logos blue\WCG - Logo - General - Blue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4639" y="6148388"/>
            <a:ext cx="1108075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6" y="1412778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4"/>
            <p:custDataLst>
              <p:tags r:id="rId4"/>
            </p:custDataLst>
          </p:nvPr>
        </p:nvSpPr>
        <p:spPr/>
        <p:txBody>
          <a:bodyPr/>
          <a:lstStyle>
            <a:lvl1pPr algn="r" defTabSz="342900" eaLnBrk="0" fontAlgn="base" hangingPunct="0">
              <a:spcBef>
                <a:spcPct val="0"/>
              </a:spcBef>
              <a:spcAft>
                <a:spcPct val="0"/>
              </a:spcAft>
              <a:defRPr sz="675">
                <a:solidFill>
                  <a:srgbClr val="003399"/>
                </a:solidFill>
                <a:latin typeface="Century Gothic" pitchFamily="34" charset="0"/>
                <a:cs typeface="+mn-cs"/>
              </a:defRPr>
            </a:lvl1pPr>
          </a:lstStyle>
          <a:p>
            <a:pPr>
              <a:defRPr/>
            </a:pPr>
            <a:fld id="{D24B78CB-9595-492E-BC29-AD817C707749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5"/>
            <p:custDataLst>
              <p:tags r:id="rId5"/>
            </p:custDataLst>
          </p:nvPr>
        </p:nvSpPr>
        <p:spPr/>
        <p:txBody>
          <a:bodyPr/>
          <a:lstStyle>
            <a:lvl1pPr algn="l" defTabSz="3429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rgbClr val="998F86"/>
                </a:solidFill>
                <a:latin typeface="Arial" panose="020B0604020202020204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ZA"/>
              <a:t>Stocktak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02649545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9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7193" name="think-cell Slide" r:id="rId7" imgW="270" imgH="270" progId="">
              <p:embed/>
            </p:oleObj>
          </a:graphicData>
        </a:graphic>
      </p:graphicFrame>
      <p:pic>
        <p:nvPicPr>
          <p:cNvPr id="7" name="Picture 8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739777"/>
            <a:ext cx="9144000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6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2060576" y="6467477"/>
            <a:ext cx="1944688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4000" tIns="54000" rIns="0" b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685800">
              <a:defRPr/>
            </a:pPr>
            <a:r>
              <a:rPr lang="en-US" sz="600">
                <a:solidFill>
                  <a:srgbClr val="998F8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© Western Cape Government 2012  |</a:t>
            </a:r>
            <a:endParaRPr lang="en-GB" sz="600">
              <a:solidFill>
                <a:srgbClr val="998F86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Picture 107" descr="C:\Users\Conny\Desktop\WCG\WCG - Logo\PNG\Logos blue\WCG - Logo - General - Blue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4639" y="6148388"/>
            <a:ext cx="1108075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6" y="1412778"/>
            <a:ext cx="4060701" cy="4680049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80" y="1412778"/>
            <a:ext cx="4060701" cy="4680049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6"/>
            <p:custDataLst>
              <p:tags r:id="rId4"/>
            </p:custDataLst>
          </p:nvPr>
        </p:nvSpPr>
        <p:spPr/>
        <p:txBody>
          <a:bodyPr/>
          <a:lstStyle>
            <a:lvl1pPr algn="r" defTabSz="342900" eaLnBrk="0" fontAlgn="base" hangingPunct="0">
              <a:spcBef>
                <a:spcPct val="0"/>
              </a:spcBef>
              <a:spcAft>
                <a:spcPct val="0"/>
              </a:spcAft>
              <a:defRPr sz="675">
                <a:solidFill>
                  <a:srgbClr val="003399"/>
                </a:solidFill>
                <a:latin typeface="Century Gothic" pitchFamily="34" charset="0"/>
                <a:cs typeface="+mn-cs"/>
              </a:defRPr>
            </a:lvl1pPr>
          </a:lstStyle>
          <a:p>
            <a:pPr>
              <a:defRPr/>
            </a:pPr>
            <a:fld id="{A7FC5333-2A3E-4C0A-9654-EA0F88AFF8E5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7"/>
            <p:custDataLst>
              <p:tags r:id="rId5"/>
            </p:custDataLst>
          </p:nvPr>
        </p:nvSpPr>
        <p:spPr/>
        <p:txBody>
          <a:bodyPr/>
          <a:lstStyle>
            <a:lvl1pPr algn="l" defTabSz="3429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rgbClr val="998F86"/>
                </a:solidFill>
                <a:latin typeface="Arial" panose="020B0604020202020204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ZA"/>
              <a:t>Stocktak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39346477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9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8217" name="think-cell Slide" r:id="rId7" imgW="270" imgH="270" progId="">
              <p:embed/>
            </p:oleObj>
          </a:graphicData>
        </a:graphic>
      </p:graphicFrame>
      <p:pic>
        <p:nvPicPr>
          <p:cNvPr id="6" name="Picture 8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739777"/>
            <a:ext cx="9144000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6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2060576" y="6467477"/>
            <a:ext cx="1944688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4000" tIns="54000" rIns="0" b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685800">
              <a:defRPr/>
            </a:pPr>
            <a:r>
              <a:rPr lang="en-US" sz="600">
                <a:solidFill>
                  <a:srgbClr val="998F8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© Western Cape Government 2012  |</a:t>
            </a:r>
            <a:endParaRPr lang="en-GB" sz="600">
              <a:solidFill>
                <a:srgbClr val="998F86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107" descr="C:\Users\Conny\Desktop\WCG\WCG - Logo\PNG\Logos blue\WCG - Logo - General - Blue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4639" y="6148388"/>
            <a:ext cx="1108075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4"/>
            <p:custDataLst>
              <p:tags r:id="rId4"/>
            </p:custDataLst>
          </p:nvPr>
        </p:nvSpPr>
        <p:spPr/>
        <p:txBody>
          <a:bodyPr/>
          <a:lstStyle>
            <a:lvl1pPr algn="r" defTabSz="342900" eaLnBrk="0" fontAlgn="base" hangingPunct="0">
              <a:spcBef>
                <a:spcPct val="0"/>
              </a:spcBef>
              <a:spcAft>
                <a:spcPct val="0"/>
              </a:spcAft>
              <a:defRPr sz="675">
                <a:solidFill>
                  <a:srgbClr val="003399"/>
                </a:solidFill>
                <a:latin typeface="Century Gothic" pitchFamily="34" charset="0"/>
                <a:cs typeface="+mn-cs"/>
              </a:defRPr>
            </a:lvl1pPr>
          </a:lstStyle>
          <a:p>
            <a:pPr>
              <a:defRPr/>
            </a:pPr>
            <a:fld id="{D1AA1AE8-F758-4CF8-9E53-2B4BADE64F2A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5"/>
            <p:custDataLst>
              <p:tags r:id="rId5"/>
            </p:custDataLst>
          </p:nvPr>
        </p:nvSpPr>
        <p:spPr/>
        <p:txBody>
          <a:bodyPr/>
          <a:lstStyle>
            <a:lvl1pPr algn="l" defTabSz="3429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rgbClr val="998F86"/>
                </a:solidFill>
                <a:latin typeface="Arial" panose="020B0604020202020204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ZA"/>
              <a:t>Stocktak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36364441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9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9241" name="think-cell Slide" r:id="rId7" imgW="270" imgH="270" progId="">
              <p:embed/>
            </p:oleObj>
          </a:graphicData>
        </a:graphic>
      </p:graphicFrame>
      <p:pic>
        <p:nvPicPr>
          <p:cNvPr id="7" name="Picture 8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739777"/>
            <a:ext cx="9144000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6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2060576" y="6467477"/>
            <a:ext cx="1944688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4000" tIns="54000" rIns="0" b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685800">
              <a:defRPr/>
            </a:pPr>
            <a:r>
              <a:rPr lang="en-US" sz="600">
                <a:solidFill>
                  <a:srgbClr val="998F8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© Western Cape Government 2012  |</a:t>
            </a:r>
            <a:endParaRPr lang="en-GB" sz="600">
              <a:solidFill>
                <a:srgbClr val="998F86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Picture 107" descr="C:\Users\Conny\Desktop\WCG\WCG - Logo\PNG\Logos blue\WCG - Logo - General - Blue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4639" y="6148388"/>
            <a:ext cx="1108075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6" y="5681850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00" b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6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>
            <a:lvl1pPr algn="r" defTabSz="342900" eaLnBrk="0" fontAlgn="base" hangingPunct="0">
              <a:spcBef>
                <a:spcPct val="0"/>
              </a:spcBef>
              <a:spcAft>
                <a:spcPct val="0"/>
              </a:spcAft>
              <a:defRPr sz="675">
                <a:solidFill>
                  <a:srgbClr val="003399"/>
                </a:solidFill>
                <a:latin typeface="Century Gothic" pitchFamily="34" charset="0"/>
                <a:cs typeface="+mn-cs"/>
              </a:defRPr>
            </a:lvl1pPr>
          </a:lstStyle>
          <a:p>
            <a:pPr>
              <a:defRPr/>
            </a:pPr>
            <a:fld id="{48CD9027-FB7D-4D83-B18C-74D8B45E5924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3"/>
            <p:custDataLst>
              <p:tags r:id="rId5"/>
            </p:custDataLst>
          </p:nvPr>
        </p:nvSpPr>
        <p:spPr/>
        <p:txBody>
          <a:bodyPr/>
          <a:lstStyle>
            <a:lvl1pPr algn="l" defTabSz="3429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rgbClr val="998F86"/>
                </a:solidFill>
                <a:latin typeface="Arial" panose="020B0604020202020204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ZA"/>
              <a:t>Stocktak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98341416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9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0265" name="think-cell Slide" r:id="rId7" imgW="270" imgH="270" progId="">
              <p:embed/>
            </p:oleObj>
          </a:graphicData>
        </a:graphic>
      </p:graphicFrame>
      <p:pic>
        <p:nvPicPr>
          <p:cNvPr id="7" name="Picture 8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739777"/>
            <a:ext cx="9144000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6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2060576" y="6467477"/>
            <a:ext cx="1944688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4000" tIns="54000" rIns="0" b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685800">
              <a:defRPr/>
            </a:pPr>
            <a:r>
              <a:rPr lang="en-US" sz="600">
                <a:solidFill>
                  <a:srgbClr val="998F8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© Western Cape Government 2012  |</a:t>
            </a:r>
            <a:endParaRPr lang="en-GB" sz="600">
              <a:solidFill>
                <a:srgbClr val="998F86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Picture 107" descr="C:\Users\Conny\Desktop\WCG\WCG - Logo\PNG\Logos blue\WCG - Logo - General - Blue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4639" y="6148388"/>
            <a:ext cx="1108075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6" y="5681850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00" b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6" y="1196752"/>
            <a:ext cx="4060701" cy="4487075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80" y="1196752"/>
            <a:ext cx="4060701" cy="4487075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4"/>
            <p:custDataLst>
              <p:tags r:id="rId4"/>
            </p:custDataLst>
          </p:nvPr>
        </p:nvSpPr>
        <p:spPr/>
        <p:txBody>
          <a:bodyPr/>
          <a:lstStyle>
            <a:lvl1pPr algn="r" defTabSz="342900" eaLnBrk="0" fontAlgn="base" hangingPunct="0">
              <a:spcBef>
                <a:spcPct val="0"/>
              </a:spcBef>
              <a:spcAft>
                <a:spcPct val="0"/>
              </a:spcAft>
              <a:defRPr sz="675">
                <a:solidFill>
                  <a:srgbClr val="003399"/>
                </a:solidFill>
                <a:latin typeface="Century Gothic" pitchFamily="34" charset="0"/>
                <a:cs typeface="+mn-cs"/>
              </a:defRPr>
            </a:lvl1pPr>
          </a:lstStyle>
          <a:p>
            <a:pPr>
              <a:defRPr/>
            </a:pPr>
            <a:fld id="{6E6CEED7-FA2F-4949-B6C2-5A52CD58D32E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15"/>
            <p:custDataLst>
              <p:tags r:id="rId5"/>
            </p:custDataLst>
          </p:nvPr>
        </p:nvSpPr>
        <p:spPr/>
        <p:txBody>
          <a:bodyPr/>
          <a:lstStyle>
            <a:lvl1pPr algn="l" defTabSz="3429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rgbClr val="998F86"/>
                </a:solidFill>
                <a:latin typeface="Arial" panose="020B0604020202020204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ZA"/>
              <a:t>Stocktak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97668852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9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1289" name="think-cell Slide" r:id="rId7" imgW="270" imgH="270" progId="">
              <p:embed/>
            </p:oleObj>
          </a:graphicData>
        </a:graphic>
      </p:graphicFrame>
      <p:pic>
        <p:nvPicPr>
          <p:cNvPr id="5" name="Picture 8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739777"/>
            <a:ext cx="9144000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6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2060576" y="6467477"/>
            <a:ext cx="1944688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4000" tIns="54000" rIns="0" b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685800">
              <a:defRPr/>
            </a:pPr>
            <a:r>
              <a:rPr lang="en-US" sz="600">
                <a:solidFill>
                  <a:srgbClr val="998F8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© Western Cape Government 2012  |</a:t>
            </a:r>
            <a:endParaRPr lang="en-GB" sz="600">
              <a:solidFill>
                <a:srgbClr val="998F86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107" descr="C:\Users\Conny\Desktop\WCG\WCG - Logo\PNG\Logos blue\WCG - Logo - General - Blue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4639" y="6148388"/>
            <a:ext cx="1108075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6" y="5681850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00" b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1"/>
            <p:custDataLst>
              <p:tags r:id="rId4"/>
            </p:custDataLst>
          </p:nvPr>
        </p:nvSpPr>
        <p:spPr/>
        <p:txBody>
          <a:bodyPr/>
          <a:lstStyle>
            <a:lvl1pPr algn="r" defTabSz="342900" eaLnBrk="0" fontAlgn="base" hangingPunct="0">
              <a:spcBef>
                <a:spcPct val="0"/>
              </a:spcBef>
              <a:spcAft>
                <a:spcPct val="0"/>
              </a:spcAft>
              <a:defRPr sz="675">
                <a:solidFill>
                  <a:srgbClr val="003399"/>
                </a:solidFill>
                <a:latin typeface="Century Gothic" pitchFamily="34" charset="0"/>
                <a:cs typeface="+mn-cs"/>
              </a:defRPr>
            </a:lvl1pPr>
          </a:lstStyle>
          <a:p>
            <a:pPr>
              <a:defRPr/>
            </a:pPr>
            <a:fld id="{6F18FDB7-EEBA-469E-892C-9810BAA62854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2"/>
            <p:custDataLst>
              <p:tags r:id="rId5"/>
            </p:custDataLst>
          </p:nvPr>
        </p:nvSpPr>
        <p:spPr/>
        <p:txBody>
          <a:bodyPr/>
          <a:lstStyle>
            <a:lvl1pPr algn="l" defTabSz="3429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rgbClr val="998F86"/>
                </a:solidFill>
                <a:latin typeface="Arial" panose="020B0604020202020204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ZA"/>
              <a:t>Stocktak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4942898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9144000" h="6858000">
                <a:moveTo>
                  <a:pt x="0" y="6858000"/>
                </a:moveTo>
                <a:lnTo>
                  <a:pt x="9144000" y="6858000"/>
                </a:lnTo>
                <a:lnTo>
                  <a:pt x="9144000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solidFill>
            <a:srgbClr val="00339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k object 17"/>
          <p:cNvSpPr/>
          <p:nvPr/>
        </p:nvSpPr>
        <p:spPr>
          <a:xfrm>
            <a:off x="57911" y="5516879"/>
            <a:ext cx="9086087" cy="17068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bk object 18"/>
          <p:cNvSpPr/>
          <p:nvPr/>
        </p:nvSpPr>
        <p:spPr>
          <a:xfrm>
            <a:off x="274320" y="6149340"/>
            <a:ext cx="1109472" cy="34594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9" name="bk object 19"/>
          <p:cNvSpPr/>
          <p:nvPr/>
        </p:nvSpPr>
        <p:spPr>
          <a:xfrm>
            <a:off x="611123" y="2276855"/>
            <a:ext cx="8281670" cy="937260"/>
          </a:xfrm>
          <a:custGeom>
            <a:avLst/>
            <a:gdLst/>
            <a:ahLst/>
            <a:cxnLst/>
            <a:rect l="l" t="t" r="r" b="b"/>
            <a:pathLst>
              <a:path w="8281670" h="937260">
                <a:moveTo>
                  <a:pt x="0" y="937260"/>
                </a:moveTo>
                <a:lnTo>
                  <a:pt x="8281416" y="937260"/>
                </a:lnTo>
                <a:lnTo>
                  <a:pt x="8281416" y="0"/>
                </a:lnTo>
                <a:lnTo>
                  <a:pt x="0" y="0"/>
                </a:lnTo>
                <a:lnTo>
                  <a:pt x="0" y="937260"/>
                </a:lnTo>
                <a:close/>
              </a:path>
            </a:pathLst>
          </a:custGeom>
          <a:solidFill>
            <a:srgbClr val="00339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000091"/>
                </a:solidFill>
                <a:latin typeface="Century Gothic"/>
                <a:cs typeface="Century Gothic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pPr/>
              <a:t>8/8/2019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900" b="0" i="0">
                <a:solidFill>
                  <a:srgbClr val="003399"/>
                </a:solidFill>
                <a:latin typeface="Century Gothic"/>
                <a:cs typeface="Century Gothic"/>
              </a:defRPr>
            </a:lvl1pPr>
          </a:lstStyle>
          <a:p>
            <a:pPr marL="25400">
              <a:lnSpc>
                <a:spcPct val="100000"/>
              </a:lnSpc>
              <a:spcBef>
                <a:spcPts val="105"/>
              </a:spcBef>
            </a:pPr>
            <a:fld id="{81D60167-4931-47E6-BA6A-407CBD079E47}" type="slidenum">
              <a:rPr dirty="0"/>
              <a:pPr marL="25400">
                <a:lnSpc>
                  <a:spcPct val="100000"/>
                </a:lnSpc>
                <a:spcBef>
                  <a:spcPts val="105"/>
                </a:spcBef>
              </a:pPr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9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2313" name="think-cell Slide" r:id="rId7" imgW="270" imgH="270" progId="">
              <p:embed/>
            </p:oleObj>
          </a:graphicData>
        </a:graphic>
      </p:graphicFrame>
      <p:pic>
        <p:nvPicPr>
          <p:cNvPr id="7" name="Picture 8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739777"/>
            <a:ext cx="9144000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6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2060576" y="6467477"/>
            <a:ext cx="1944688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4000" tIns="54000" rIns="0" b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685800">
              <a:defRPr/>
            </a:pPr>
            <a:r>
              <a:rPr lang="en-US" sz="600">
                <a:solidFill>
                  <a:srgbClr val="998F8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© Western Cape Government 2012  |</a:t>
            </a:r>
            <a:endParaRPr lang="en-GB" sz="600">
              <a:solidFill>
                <a:srgbClr val="998F86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Picture 107" descr="C:\Users\Conny\Desktop\WCG\WCG - Logo\PNG\Logos blue\WCG - Logo - General - Blue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4639" y="6148388"/>
            <a:ext cx="1108075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6" y="5681850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00" b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6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5"/>
            <p:custDataLst>
              <p:tags r:id="rId4"/>
            </p:custDataLst>
          </p:nvPr>
        </p:nvSpPr>
        <p:spPr/>
        <p:txBody>
          <a:bodyPr/>
          <a:lstStyle>
            <a:lvl1pPr algn="r" defTabSz="342900" eaLnBrk="0" fontAlgn="base" hangingPunct="0">
              <a:spcBef>
                <a:spcPct val="0"/>
              </a:spcBef>
              <a:spcAft>
                <a:spcPct val="0"/>
              </a:spcAft>
              <a:defRPr sz="675">
                <a:solidFill>
                  <a:srgbClr val="003399"/>
                </a:solidFill>
                <a:latin typeface="Century Gothic" pitchFamily="34" charset="0"/>
                <a:cs typeface="+mn-cs"/>
              </a:defRPr>
            </a:lvl1pPr>
          </a:lstStyle>
          <a:p>
            <a:pPr>
              <a:defRPr/>
            </a:pPr>
            <a:fld id="{0F8D1D06-1777-4BB2-B178-31EFF5460ADE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16"/>
            <p:custDataLst>
              <p:tags r:id="rId5"/>
            </p:custDataLst>
          </p:nvPr>
        </p:nvSpPr>
        <p:spPr/>
        <p:txBody>
          <a:bodyPr/>
          <a:lstStyle>
            <a:lvl1pPr algn="l" defTabSz="3429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rgbClr val="998F86"/>
                </a:solidFill>
                <a:latin typeface="Arial" panose="020B0604020202020204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ZA"/>
              <a:t>Stocktak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56882028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9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3337" name="think-cell Slide" r:id="rId7" imgW="270" imgH="270" progId="">
              <p:embed/>
            </p:oleObj>
          </a:graphicData>
        </a:graphic>
      </p:graphicFrame>
      <p:pic>
        <p:nvPicPr>
          <p:cNvPr id="8" name="Picture 8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739777"/>
            <a:ext cx="9144000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6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2060576" y="6467477"/>
            <a:ext cx="1944688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4000" tIns="54000" rIns="0" b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685800">
              <a:defRPr/>
            </a:pPr>
            <a:r>
              <a:rPr lang="en-US" sz="600">
                <a:solidFill>
                  <a:srgbClr val="998F8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© Western Cape Government 2012  |</a:t>
            </a:r>
            <a:endParaRPr lang="en-GB" sz="600">
              <a:solidFill>
                <a:srgbClr val="998F86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Picture 107" descr="C:\Users\Conny\Desktop\WCG\WCG - Logo\PNG\Logos blue\WCG - Logo - General - Blue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4639" y="6148388"/>
            <a:ext cx="1108075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6" y="1412778"/>
            <a:ext cx="4060701" cy="4281441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6" y="5681850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00" b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80" y="1412778"/>
            <a:ext cx="4060701" cy="4281441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16"/>
            <p:custDataLst>
              <p:tags r:id="rId4"/>
            </p:custDataLst>
          </p:nvPr>
        </p:nvSpPr>
        <p:spPr/>
        <p:txBody>
          <a:bodyPr/>
          <a:lstStyle>
            <a:lvl1pPr algn="r" defTabSz="342900" eaLnBrk="0" fontAlgn="base" hangingPunct="0">
              <a:spcBef>
                <a:spcPct val="0"/>
              </a:spcBef>
              <a:spcAft>
                <a:spcPct val="0"/>
              </a:spcAft>
              <a:defRPr sz="675">
                <a:solidFill>
                  <a:srgbClr val="003399"/>
                </a:solidFill>
                <a:latin typeface="Century Gothic" pitchFamily="34" charset="0"/>
                <a:cs typeface="+mn-cs"/>
              </a:defRPr>
            </a:lvl1pPr>
          </a:lstStyle>
          <a:p>
            <a:pPr>
              <a:defRPr/>
            </a:pPr>
            <a:fld id="{91B0FA7A-89DF-4B67-98ED-93F9231F99C3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17"/>
            <p:custDataLst>
              <p:tags r:id="rId5"/>
            </p:custDataLst>
          </p:nvPr>
        </p:nvSpPr>
        <p:spPr/>
        <p:txBody>
          <a:bodyPr/>
          <a:lstStyle>
            <a:lvl1pPr algn="l" defTabSz="3429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rgbClr val="998F86"/>
                </a:solidFill>
                <a:latin typeface="Arial" panose="020B0604020202020204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ZA"/>
              <a:t>Stocktak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34148352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9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4361" name="think-cell Slide" r:id="rId7" imgW="270" imgH="270" progId="">
              <p:embed/>
            </p:oleObj>
          </a:graphicData>
        </a:graphic>
      </p:graphicFrame>
      <p:pic>
        <p:nvPicPr>
          <p:cNvPr id="6" name="Picture 8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739777"/>
            <a:ext cx="9144000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6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2060576" y="6467477"/>
            <a:ext cx="1944688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4000" tIns="54000" rIns="0" b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685800">
              <a:defRPr/>
            </a:pPr>
            <a:r>
              <a:rPr lang="en-US" sz="600">
                <a:solidFill>
                  <a:srgbClr val="998F8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© Western Cape Government 2012  |</a:t>
            </a:r>
            <a:endParaRPr lang="en-GB" sz="600">
              <a:solidFill>
                <a:srgbClr val="998F86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107" descr="C:\Users\Conny\Desktop\WCG\WCG - Logo\PNG\Logos blue\WCG - Logo - General - Blue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4639" y="6148388"/>
            <a:ext cx="1108075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6" y="5681850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600" b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4"/>
            <p:custDataLst>
              <p:tags r:id="rId4"/>
            </p:custDataLst>
          </p:nvPr>
        </p:nvSpPr>
        <p:spPr/>
        <p:txBody>
          <a:bodyPr/>
          <a:lstStyle>
            <a:lvl1pPr algn="r" defTabSz="342900" eaLnBrk="0" fontAlgn="base" hangingPunct="0">
              <a:spcBef>
                <a:spcPct val="0"/>
              </a:spcBef>
              <a:spcAft>
                <a:spcPct val="0"/>
              </a:spcAft>
              <a:defRPr sz="675">
                <a:solidFill>
                  <a:srgbClr val="003399"/>
                </a:solidFill>
                <a:latin typeface="Century Gothic" pitchFamily="34" charset="0"/>
                <a:cs typeface="+mn-cs"/>
              </a:defRPr>
            </a:lvl1pPr>
          </a:lstStyle>
          <a:p>
            <a:pPr>
              <a:defRPr/>
            </a:pPr>
            <a:fld id="{6A104D9B-42D0-4E0B-9E29-C2A71CB08F71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5"/>
            <p:custDataLst>
              <p:tags r:id="rId5"/>
            </p:custDataLst>
          </p:nvPr>
        </p:nvSpPr>
        <p:spPr/>
        <p:txBody>
          <a:bodyPr/>
          <a:lstStyle>
            <a:lvl1pPr algn="l" defTabSz="3429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rgbClr val="998F86"/>
                </a:solidFill>
                <a:latin typeface="Arial" panose="020B0604020202020204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ZA"/>
              <a:t>Stocktak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65749249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7150" y="5516563"/>
            <a:ext cx="9086850" cy="17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107" descr="C:\Users\Conny\Desktop\WCG\WCG - Logo\PNG\Logos blue\WCG - Logo - General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4639" y="6148388"/>
            <a:ext cx="1108075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11189" y="2276874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24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03078073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9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5385" name="think-cell Slide" r:id="rId7" imgW="270" imgH="270" progId="">
              <p:embed/>
            </p:oleObj>
          </a:graphicData>
        </a:graphic>
      </p:graphicFrame>
      <p:pic>
        <p:nvPicPr>
          <p:cNvPr id="7" name="Picture 8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739777"/>
            <a:ext cx="9144000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6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2060576" y="6467477"/>
            <a:ext cx="1944688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4000" tIns="54000" rIns="0" b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685800">
              <a:defRPr/>
            </a:pPr>
            <a:r>
              <a:rPr lang="en-US" sz="600">
                <a:solidFill>
                  <a:srgbClr val="998F8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© Western Cape Government 2012  |</a:t>
            </a:r>
            <a:endParaRPr lang="en-GB" sz="600">
              <a:solidFill>
                <a:srgbClr val="998F86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Picture 107" descr="C:\Users\Conny\Desktop\WCG\WCG - Logo\PNG\Logos blue\WCG - Logo - General - Blue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4639" y="6148388"/>
            <a:ext cx="1108075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323851" y="1412775"/>
            <a:ext cx="2908573" cy="4680049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8"/>
            <a:ext cx="5472608" cy="4680049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6"/>
            <p:custDataLst>
              <p:tags r:id="rId4"/>
            </p:custDataLst>
          </p:nvPr>
        </p:nvSpPr>
        <p:spPr/>
        <p:txBody>
          <a:bodyPr/>
          <a:lstStyle>
            <a:lvl1pPr algn="r" defTabSz="342900" eaLnBrk="0" fontAlgn="base" hangingPunct="0">
              <a:spcBef>
                <a:spcPct val="0"/>
              </a:spcBef>
              <a:spcAft>
                <a:spcPct val="0"/>
              </a:spcAft>
              <a:defRPr sz="675">
                <a:solidFill>
                  <a:srgbClr val="003399"/>
                </a:solidFill>
                <a:latin typeface="Century Gothic" pitchFamily="34" charset="0"/>
                <a:cs typeface="+mn-cs"/>
              </a:defRPr>
            </a:lvl1pPr>
          </a:lstStyle>
          <a:p>
            <a:pPr>
              <a:defRPr/>
            </a:pPr>
            <a:fld id="{B390D05D-D279-44A0-AA1A-E0D295CA6F70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7"/>
            <p:custDataLst>
              <p:tags r:id="rId5"/>
            </p:custDataLst>
          </p:nvPr>
        </p:nvSpPr>
        <p:spPr/>
        <p:txBody>
          <a:bodyPr/>
          <a:lstStyle>
            <a:lvl1pPr algn="l" defTabSz="3429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rgbClr val="998F86"/>
                </a:solidFill>
                <a:latin typeface="Arial" panose="020B0604020202020204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ZA"/>
              <a:t>Stocktak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72533585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9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6409" name="think-cell Slide" r:id="rId7" imgW="270" imgH="270" progId="">
              <p:embed/>
            </p:oleObj>
          </a:graphicData>
        </a:graphic>
      </p:graphicFrame>
      <p:pic>
        <p:nvPicPr>
          <p:cNvPr id="7" name="Picture 8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739777"/>
            <a:ext cx="9144000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6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2060576" y="6467477"/>
            <a:ext cx="1944688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4000" tIns="54000" rIns="0" b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685800">
              <a:defRPr/>
            </a:pPr>
            <a:r>
              <a:rPr lang="en-US" sz="600">
                <a:solidFill>
                  <a:srgbClr val="998F8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© Western Cape Government 2012  |</a:t>
            </a:r>
            <a:endParaRPr lang="en-GB" sz="600">
              <a:solidFill>
                <a:srgbClr val="998F86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Picture 107" descr="C:\Users\Conny\Desktop\WCG\WCG - Logo\PNG\Logos blue\WCG - Logo - General - Blue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4639" y="6148388"/>
            <a:ext cx="1108075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6516217" y="1412776"/>
            <a:ext cx="2404517" cy="4680048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1" y="1412777"/>
            <a:ext cx="6004917" cy="4680048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6"/>
            <p:custDataLst>
              <p:tags r:id="rId4"/>
            </p:custDataLst>
          </p:nvPr>
        </p:nvSpPr>
        <p:spPr/>
        <p:txBody>
          <a:bodyPr/>
          <a:lstStyle>
            <a:lvl1pPr algn="r" defTabSz="342900" eaLnBrk="0" fontAlgn="base" hangingPunct="0">
              <a:spcBef>
                <a:spcPct val="0"/>
              </a:spcBef>
              <a:spcAft>
                <a:spcPct val="0"/>
              </a:spcAft>
              <a:defRPr sz="675">
                <a:solidFill>
                  <a:srgbClr val="003399"/>
                </a:solidFill>
                <a:latin typeface="Century Gothic" pitchFamily="34" charset="0"/>
                <a:cs typeface="+mn-cs"/>
              </a:defRPr>
            </a:lvl1pPr>
          </a:lstStyle>
          <a:p>
            <a:pPr>
              <a:defRPr/>
            </a:pPr>
            <a:fld id="{84E92597-A8F1-4E62-824E-430B03F1C632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7"/>
            <p:custDataLst>
              <p:tags r:id="rId5"/>
            </p:custDataLst>
          </p:nvPr>
        </p:nvSpPr>
        <p:spPr/>
        <p:txBody>
          <a:bodyPr/>
          <a:lstStyle>
            <a:lvl1pPr algn="l" defTabSz="3429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rgbClr val="998F86"/>
                </a:solidFill>
                <a:latin typeface="Arial" panose="020B0604020202020204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ZA"/>
              <a:t>Stocktak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58062113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9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7433" name="think-cell Slide" r:id="rId7" imgW="270" imgH="270" progId="">
              <p:embed/>
            </p:oleObj>
          </a:graphicData>
        </a:graphic>
      </p:graphicFrame>
      <p:pic>
        <p:nvPicPr>
          <p:cNvPr id="8" name="Picture 8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739777"/>
            <a:ext cx="9144000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6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2060576" y="6467477"/>
            <a:ext cx="1944688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4000" tIns="54000" rIns="0" b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685800">
              <a:defRPr/>
            </a:pPr>
            <a:r>
              <a:rPr lang="en-US" sz="600">
                <a:solidFill>
                  <a:srgbClr val="998F8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© Western Cape Government 2012  |</a:t>
            </a:r>
            <a:endParaRPr lang="en-GB" sz="600">
              <a:solidFill>
                <a:srgbClr val="998F86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Picture 107" descr="C:\Users\Conny\Desktop\WCG\WCG - Logo\PNG\Logos blue\WCG - Logo - General - Blue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4639" y="6148388"/>
            <a:ext cx="1108075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1" y="3532181"/>
            <a:ext cx="8597205" cy="2551450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7"/>
            <p:custDataLst>
              <p:tags r:id="rId4"/>
            </p:custDataLst>
          </p:nvPr>
        </p:nvSpPr>
        <p:spPr/>
        <p:txBody>
          <a:bodyPr/>
          <a:lstStyle>
            <a:lvl1pPr algn="r" defTabSz="342900" eaLnBrk="0" fontAlgn="base" hangingPunct="0">
              <a:spcBef>
                <a:spcPct val="0"/>
              </a:spcBef>
              <a:spcAft>
                <a:spcPct val="0"/>
              </a:spcAft>
              <a:defRPr sz="675">
                <a:solidFill>
                  <a:srgbClr val="003399"/>
                </a:solidFill>
                <a:latin typeface="Century Gothic" pitchFamily="34" charset="0"/>
                <a:cs typeface="+mn-cs"/>
              </a:defRPr>
            </a:lvl1pPr>
          </a:lstStyle>
          <a:p>
            <a:pPr>
              <a:defRPr/>
            </a:pPr>
            <a:fld id="{8A2B3444-0B07-4AB7-9055-9484950FEECB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18"/>
            <p:custDataLst>
              <p:tags r:id="rId5"/>
            </p:custDataLst>
          </p:nvPr>
        </p:nvSpPr>
        <p:spPr/>
        <p:txBody>
          <a:bodyPr/>
          <a:lstStyle>
            <a:lvl1pPr algn="l" defTabSz="3429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rgbClr val="998F86"/>
                </a:solidFill>
                <a:latin typeface="Arial" panose="020B0604020202020204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ZA"/>
              <a:t>Stocktak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6257118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9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8457" name="think-cell Slide" r:id="rId7" imgW="270" imgH="270" progId="">
              <p:embed/>
            </p:oleObj>
          </a:graphicData>
        </a:graphic>
      </p:graphicFrame>
      <p:pic>
        <p:nvPicPr>
          <p:cNvPr id="8" name="Picture 8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739777"/>
            <a:ext cx="9144000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6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2060576" y="6467477"/>
            <a:ext cx="1944688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4000" tIns="54000" rIns="0" b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685800">
              <a:defRPr/>
            </a:pPr>
            <a:r>
              <a:rPr lang="en-US" sz="600">
                <a:solidFill>
                  <a:srgbClr val="998F8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© Western Cape Government 2012  |</a:t>
            </a:r>
            <a:endParaRPr lang="en-GB" sz="600">
              <a:solidFill>
                <a:srgbClr val="998F86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Picture 107" descr="C:\Users\Conny\Desktop\WCG\WCG - Logo\PNG\Logos blue\WCG - Logo - General - Blue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4639" y="6148388"/>
            <a:ext cx="1108075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1" y="1412776"/>
            <a:ext cx="8597205" cy="2143224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7"/>
            <p:custDataLst>
              <p:tags r:id="rId4"/>
            </p:custDataLst>
          </p:nvPr>
        </p:nvSpPr>
        <p:spPr/>
        <p:txBody>
          <a:bodyPr/>
          <a:lstStyle>
            <a:lvl1pPr algn="r" defTabSz="342900" eaLnBrk="0" fontAlgn="base" hangingPunct="0">
              <a:spcBef>
                <a:spcPct val="0"/>
              </a:spcBef>
              <a:spcAft>
                <a:spcPct val="0"/>
              </a:spcAft>
              <a:defRPr sz="675">
                <a:solidFill>
                  <a:srgbClr val="003399"/>
                </a:solidFill>
                <a:latin typeface="Century Gothic" pitchFamily="34" charset="0"/>
                <a:cs typeface="+mn-cs"/>
              </a:defRPr>
            </a:lvl1pPr>
          </a:lstStyle>
          <a:p>
            <a:pPr>
              <a:defRPr/>
            </a:pPr>
            <a:fld id="{861B654E-C75B-4C00-9F41-6C10EC84A35E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18"/>
            <p:custDataLst>
              <p:tags r:id="rId5"/>
            </p:custDataLst>
          </p:nvPr>
        </p:nvSpPr>
        <p:spPr/>
        <p:txBody>
          <a:bodyPr/>
          <a:lstStyle>
            <a:lvl1pPr algn="l" defTabSz="3429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rgbClr val="998F86"/>
                </a:solidFill>
                <a:latin typeface="Arial" panose="020B0604020202020204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ZA"/>
              <a:t>Stocktak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20279115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9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9481" name="think-cell Slide" r:id="rId7" imgW="270" imgH="270" progId="">
              <p:embed/>
            </p:oleObj>
          </a:graphicData>
        </a:graphic>
      </p:graphicFrame>
      <p:pic>
        <p:nvPicPr>
          <p:cNvPr id="9" name="Picture 10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739777"/>
            <a:ext cx="9144000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6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2060576" y="6467477"/>
            <a:ext cx="1944688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4000" tIns="54000" rIns="0" b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685800">
              <a:defRPr/>
            </a:pPr>
            <a:r>
              <a:rPr lang="en-US" sz="600">
                <a:solidFill>
                  <a:srgbClr val="998F8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© Western Cape Government 2012  |</a:t>
            </a:r>
            <a:endParaRPr lang="en-GB" sz="600">
              <a:solidFill>
                <a:srgbClr val="998F86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Picture 107" descr="C:\Users\Conny\Desktop\WCG\WCG - Logo\PNG\Logos blue\WCG - Logo - General - Blue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4639" y="6148388"/>
            <a:ext cx="1108075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290288" y="3645024"/>
            <a:ext cx="2625529" cy="2304256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3292908" y="3645024"/>
            <a:ext cx="2625529" cy="2304256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6295527" y="3645024"/>
            <a:ext cx="2625529" cy="2304256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1" y="1412776"/>
            <a:ext cx="8597205" cy="2143224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18"/>
            <p:custDataLst>
              <p:tags r:id="rId4"/>
            </p:custDataLst>
          </p:nvPr>
        </p:nvSpPr>
        <p:spPr/>
        <p:txBody>
          <a:bodyPr/>
          <a:lstStyle>
            <a:lvl1pPr algn="r" defTabSz="342900" eaLnBrk="0" fontAlgn="base" hangingPunct="0">
              <a:spcBef>
                <a:spcPct val="0"/>
              </a:spcBef>
              <a:spcAft>
                <a:spcPct val="0"/>
              </a:spcAft>
              <a:defRPr sz="675">
                <a:solidFill>
                  <a:srgbClr val="003399"/>
                </a:solidFill>
                <a:latin typeface="Century Gothic" pitchFamily="34" charset="0"/>
                <a:cs typeface="+mn-cs"/>
              </a:defRPr>
            </a:lvl1pPr>
          </a:lstStyle>
          <a:p>
            <a:pPr>
              <a:defRPr/>
            </a:pPr>
            <a:fld id="{6E009FAF-C796-43D4-B292-D82CB6E33CF8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19"/>
            <p:custDataLst>
              <p:tags r:id="rId5"/>
            </p:custDataLst>
          </p:nvPr>
        </p:nvSpPr>
        <p:spPr/>
        <p:txBody>
          <a:bodyPr/>
          <a:lstStyle>
            <a:lvl1pPr algn="l" defTabSz="3429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rgbClr val="998F86"/>
                </a:solidFill>
                <a:latin typeface="Arial" panose="020B0604020202020204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ZA"/>
              <a:t>Stocktak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60650490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9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0505" name="think-cell Slide" r:id="rId7" imgW="270" imgH="270" progId="">
              <p:embed/>
            </p:oleObj>
          </a:graphicData>
        </a:graphic>
      </p:graphicFrame>
      <p:pic>
        <p:nvPicPr>
          <p:cNvPr id="9" name="Picture 10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739777"/>
            <a:ext cx="9144000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6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2060576" y="6467477"/>
            <a:ext cx="1944688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4000" tIns="54000" rIns="0" b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685800">
              <a:defRPr/>
            </a:pPr>
            <a:r>
              <a:rPr lang="en-US" sz="600">
                <a:solidFill>
                  <a:srgbClr val="998F8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© Western Cape Government 2012  |</a:t>
            </a:r>
            <a:endParaRPr lang="en-GB" sz="600">
              <a:solidFill>
                <a:srgbClr val="998F86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Picture 107" descr="C:\Users\Conny\Desktop\WCG\WCG - Logo\PNG\Logos blue\WCG - Logo - General - Blue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4639" y="6148388"/>
            <a:ext cx="1108075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290288" y="1412776"/>
            <a:ext cx="2625529" cy="2160240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3292908" y="1412776"/>
            <a:ext cx="2625529" cy="2160240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6295527" y="1412776"/>
            <a:ext cx="2625529" cy="2160240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1" y="3703287"/>
            <a:ext cx="8597205" cy="2380344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18"/>
            <p:custDataLst>
              <p:tags r:id="rId4"/>
            </p:custDataLst>
          </p:nvPr>
        </p:nvSpPr>
        <p:spPr/>
        <p:txBody>
          <a:bodyPr/>
          <a:lstStyle>
            <a:lvl1pPr algn="r" defTabSz="342900" eaLnBrk="0" fontAlgn="base" hangingPunct="0">
              <a:spcBef>
                <a:spcPct val="0"/>
              </a:spcBef>
              <a:spcAft>
                <a:spcPct val="0"/>
              </a:spcAft>
              <a:defRPr sz="675">
                <a:solidFill>
                  <a:srgbClr val="003399"/>
                </a:solidFill>
                <a:latin typeface="Century Gothic" pitchFamily="34" charset="0"/>
                <a:cs typeface="+mn-cs"/>
              </a:defRPr>
            </a:lvl1pPr>
          </a:lstStyle>
          <a:p>
            <a:pPr>
              <a:defRPr/>
            </a:pPr>
            <a:fld id="{4A13E0F4-0084-4D5B-9B0E-42D5B6EFB231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19"/>
            <p:custDataLst>
              <p:tags r:id="rId5"/>
            </p:custDataLst>
          </p:nvPr>
        </p:nvSpPr>
        <p:spPr/>
        <p:txBody>
          <a:bodyPr/>
          <a:lstStyle>
            <a:lvl1pPr algn="l" defTabSz="3429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rgbClr val="998F86"/>
                </a:solidFill>
                <a:latin typeface="Arial" panose="020B0604020202020204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ZA"/>
              <a:t>Stocktak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45963472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pPr/>
              <a:t>8/8/2019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900" b="0" i="0">
                <a:solidFill>
                  <a:srgbClr val="003399"/>
                </a:solidFill>
                <a:latin typeface="Century Gothic"/>
                <a:cs typeface="Century Gothic"/>
              </a:defRPr>
            </a:lvl1pPr>
          </a:lstStyle>
          <a:p>
            <a:pPr marL="25400">
              <a:lnSpc>
                <a:spcPct val="100000"/>
              </a:lnSpc>
              <a:spcBef>
                <a:spcPts val="105"/>
              </a:spcBef>
            </a:pPr>
            <a:fld id="{81D60167-4931-47E6-BA6A-407CBD079E47}" type="slidenum">
              <a:rPr dirty="0"/>
              <a:pPr marL="25400">
                <a:lnSpc>
                  <a:spcPct val="100000"/>
                </a:lnSpc>
                <a:spcBef>
                  <a:spcPts val="105"/>
                </a:spcBef>
              </a:pPr>
              <a:t>‹#›</a:t>
            </a:fld>
            <a:endParaRPr dirty="0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9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1529" name="think-cell Slide" r:id="rId7" imgW="270" imgH="270" progId="">
              <p:embed/>
            </p:oleObj>
          </a:graphicData>
        </a:graphic>
      </p:graphicFrame>
      <p:pic>
        <p:nvPicPr>
          <p:cNvPr id="9" name="Picture 10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739777"/>
            <a:ext cx="9144000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6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2060576" y="6467477"/>
            <a:ext cx="1944688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4000" tIns="54000" rIns="0" b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685800">
              <a:defRPr/>
            </a:pPr>
            <a:r>
              <a:rPr lang="en-US" sz="600">
                <a:solidFill>
                  <a:srgbClr val="998F8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© Western Cape Government 2012  |</a:t>
            </a:r>
            <a:endParaRPr lang="en-GB" sz="600">
              <a:solidFill>
                <a:srgbClr val="998F86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Picture 107" descr="C:\Users\Conny\Desktop\WCG\WCG - Logo\PNG\Logos blue\WCG - Logo - General - Blue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4639" y="6148388"/>
            <a:ext cx="1108075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323851" y="1412776"/>
            <a:ext cx="2908573" cy="1512168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323851" y="2975180"/>
            <a:ext cx="2908573" cy="1512168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323851" y="4537584"/>
            <a:ext cx="2908573" cy="1541098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18"/>
            <p:custDataLst>
              <p:tags r:id="rId4"/>
            </p:custDataLst>
          </p:nvPr>
        </p:nvSpPr>
        <p:spPr/>
        <p:txBody>
          <a:bodyPr/>
          <a:lstStyle>
            <a:lvl1pPr algn="r" defTabSz="342900" eaLnBrk="0" fontAlgn="base" hangingPunct="0">
              <a:spcBef>
                <a:spcPct val="0"/>
              </a:spcBef>
              <a:spcAft>
                <a:spcPct val="0"/>
              </a:spcAft>
              <a:defRPr sz="675">
                <a:solidFill>
                  <a:srgbClr val="003399"/>
                </a:solidFill>
                <a:latin typeface="Century Gothic" pitchFamily="34" charset="0"/>
                <a:cs typeface="+mn-cs"/>
              </a:defRPr>
            </a:lvl1pPr>
          </a:lstStyle>
          <a:p>
            <a:pPr>
              <a:defRPr/>
            </a:pPr>
            <a:fld id="{A71C4D2D-EF9A-48B1-A216-A03E6BCE84E0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19"/>
            <p:custDataLst>
              <p:tags r:id="rId5"/>
            </p:custDataLst>
          </p:nvPr>
        </p:nvSpPr>
        <p:spPr/>
        <p:txBody>
          <a:bodyPr/>
          <a:lstStyle>
            <a:lvl1pPr algn="l" defTabSz="3429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rgbClr val="998F86"/>
                </a:solidFill>
                <a:latin typeface="Arial" panose="020B0604020202020204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ZA"/>
              <a:t>Stocktak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57826042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9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2553" name="think-cell Slide" r:id="rId7" imgW="270" imgH="270" progId="">
              <p:embed/>
            </p:oleObj>
          </a:graphicData>
        </a:graphic>
      </p:graphicFrame>
      <p:pic>
        <p:nvPicPr>
          <p:cNvPr id="9" name="Picture 10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739777"/>
            <a:ext cx="9144000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6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2060576" y="6467477"/>
            <a:ext cx="1944688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4000" tIns="54000" rIns="0" b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685800">
              <a:defRPr/>
            </a:pPr>
            <a:r>
              <a:rPr lang="en-US" sz="600">
                <a:solidFill>
                  <a:srgbClr val="998F8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© Western Cape Government 2012  |</a:t>
            </a:r>
            <a:endParaRPr lang="en-GB" sz="600">
              <a:solidFill>
                <a:srgbClr val="998F86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3" name="Picture 107" descr="C:\Users\Conny\Desktop\WCG\WCG - Logo\PNG\Logos blue\WCG - Logo - General - Blue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4639" y="6148388"/>
            <a:ext cx="1108075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6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6012483" y="1412776"/>
            <a:ext cx="2908573" cy="1512168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6012483" y="2976533"/>
            <a:ext cx="2908573" cy="1512168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6012483" y="4540291"/>
            <a:ext cx="2908573" cy="1548783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1" y="1412779"/>
            <a:ext cx="5553983" cy="4665905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6" y="1039980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18"/>
            <p:custDataLst>
              <p:tags r:id="rId4"/>
            </p:custDataLst>
          </p:nvPr>
        </p:nvSpPr>
        <p:spPr/>
        <p:txBody>
          <a:bodyPr/>
          <a:lstStyle>
            <a:lvl1pPr algn="r" defTabSz="342900" eaLnBrk="0" fontAlgn="base" hangingPunct="0">
              <a:spcBef>
                <a:spcPct val="0"/>
              </a:spcBef>
              <a:spcAft>
                <a:spcPct val="0"/>
              </a:spcAft>
              <a:defRPr sz="675">
                <a:solidFill>
                  <a:srgbClr val="003399"/>
                </a:solidFill>
                <a:latin typeface="Century Gothic" pitchFamily="34" charset="0"/>
                <a:cs typeface="+mn-cs"/>
              </a:defRPr>
            </a:lvl1pPr>
          </a:lstStyle>
          <a:p>
            <a:pPr>
              <a:defRPr/>
            </a:pPr>
            <a:fld id="{2D8E5D7A-AE9F-411A-97BB-4BC702EB2FF6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19"/>
            <p:custDataLst>
              <p:tags r:id="rId5"/>
            </p:custDataLst>
          </p:nvPr>
        </p:nvSpPr>
        <p:spPr/>
        <p:txBody>
          <a:bodyPr/>
          <a:lstStyle>
            <a:lvl1pPr algn="l" defTabSz="342900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rgbClr val="998F86"/>
                </a:solidFill>
                <a:latin typeface="Arial" panose="020B0604020202020204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ZA"/>
              <a:t>Stocktak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32563341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9" name="Rectangle 8"/>
            <p:cNvSpPr/>
            <p:nvPr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350">
                <a:solidFill>
                  <a:prstClr val="white"/>
                </a:solidFill>
              </a:endParaRPr>
            </a:p>
          </p:txBody>
        </p:sp>
        <p:pic>
          <p:nvPicPr>
            <p:cNvPr id="10" name="Picture 9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1" name="Rectangle 14"/>
          <p:cNvSpPr>
            <a:spLocks noChangeArrowheads="1"/>
          </p:cNvSpPr>
          <p:nvPr userDrawn="1"/>
        </p:nvSpPr>
        <p:spPr bwMode="auto">
          <a:xfrm>
            <a:off x="2835276" y="3497263"/>
            <a:ext cx="401638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27000" tIns="54000" rIns="27000" bIns="5400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685800">
              <a:spcBef>
                <a:spcPts val="225"/>
              </a:spcBef>
              <a:buFont typeface="Arial" panose="020B0604020202020204" pitchFamily="34" charset="0"/>
              <a:buNone/>
              <a:defRPr/>
            </a:pPr>
            <a:r>
              <a:rPr lang="en-GB" sz="825" b="1">
                <a:solidFill>
                  <a:srgbClr val="003399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Tel:</a:t>
            </a:r>
          </a:p>
        </p:txBody>
      </p:sp>
      <p:sp>
        <p:nvSpPr>
          <p:cNvPr id="15" name="Rectangle 15"/>
          <p:cNvSpPr>
            <a:spLocks noChangeArrowheads="1"/>
          </p:cNvSpPr>
          <p:nvPr userDrawn="1"/>
        </p:nvSpPr>
        <p:spPr bwMode="auto">
          <a:xfrm>
            <a:off x="4779964" y="3497263"/>
            <a:ext cx="4032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27000" tIns="54000" rIns="27000" bIns="5400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685800">
              <a:spcBef>
                <a:spcPts val="225"/>
              </a:spcBef>
              <a:buFont typeface="Arial" panose="020B0604020202020204" pitchFamily="34" charset="0"/>
              <a:buNone/>
              <a:defRPr/>
            </a:pPr>
            <a:r>
              <a:rPr lang="en-GB" sz="825" b="1">
                <a:solidFill>
                  <a:srgbClr val="003399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Fax:</a:t>
            </a:r>
          </a:p>
        </p:txBody>
      </p:sp>
      <p:sp>
        <p:nvSpPr>
          <p:cNvPr id="17" name="Rectangle 16"/>
          <p:cNvSpPr>
            <a:spLocks noChangeArrowheads="1"/>
          </p:cNvSpPr>
          <p:nvPr userDrawn="1"/>
        </p:nvSpPr>
        <p:spPr bwMode="auto">
          <a:xfrm>
            <a:off x="2835275" y="4043365"/>
            <a:ext cx="3733800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27000" tIns="54000" rIns="27000" bIns="5400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685800">
              <a:spcBef>
                <a:spcPts val="225"/>
              </a:spcBef>
              <a:buFont typeface="Arial" panose="020B0604020202020204" pitchFamily="34" charset="0"/>
              <a:buNone/>
              <a:defRPr/>
            </a:pPr>
            <a:r>
              <a:rPr lang="en-GB" sz="825" b="1">
                <a:solidFill>
                  <a:srgbClr val="003399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www.westerncape.gov.za</a:t>
            </a:r>
          </a:p>
        </p:txBody>
      </p:sp>
      <p:pic>
        <p:nvPicPr>
          <p:cNvPr id="19" name="Picture 3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135189" y="1735140"/>
            <a:ext cx="2843212" cy="1082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0" name="Rectangle 18"/>
          <p:cNvSpPr>
            <a:spLocks noChangeArrowheads="1"/>
          </p:cNvSpPr>
          <p:nvPr userDrawn="1"/>
        </p:nvSpPr>
        <p:spPr bwMode="auto">
          <a:xfrm>
            <a:off x="295276" y="565151"/>
            <a:ext cx="1848583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685800">
              <a:defRPr/>
            </a:pPr>
            <a:r>
              <a:rPr lang="en-US" sz="2400">
                <a:solidFill>
                  <a:srgbClr val="FFFFFF"/>
                </a:solidFill>
                <a:latin typeface="Century Gothic" panose="020B0502020202020204" pitchFamily="34" charset="0"/>
              </a:rPr>
              <a:t>Contact Us</a:t>
            </a:r>
            <a:endParaRPr lang="en-GB" sz="1800">
              <a:solidFill>
                <a:srgbClr val="FFFFFF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834998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05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834998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825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825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13012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825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2834998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825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2834997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825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91888516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 userDrawn="1"/>
        </p:nvSpPr>
        <p:spPr>
          <a:xfrm>
            <a:off x="1763713" y="3860802"/>
            <a:ext cx="7200900" cy="1084263"/>
          </a:xfrm>
          <a:prstGeom prst="rect">
            <a:avLst/>
          </a:prstGeom>
        </p:spPr>
        <p:txBody>
          <a:bodyPr wrap="none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fontAlgn="auto">
              <a:spcAft>
                <a:spcPts val="1800"/>
              </a:spcAft>
              <a:defRPr/>
            </a:pPr>
            <a:r>
              <a:rPr lang="en-US" sz="24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3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3224213"/>
            <a:ext cx="9144000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372633860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0" y="0"/>
            <a:ext cx="0" cy="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395D267-3A22-489D-AEF0-8D2167083701}" type="datetimeFigureOut">
              <a:rPr lang="en-ZA"/>
              <a:pPr>
                <a:defRPr/>
              </a:pPr>
              <a:t>2019/08/08</a:t>
            </a:fld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FD8F737-B16C-4B21-B525-212C71D7BC0A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253758448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 descr="R0G51B153-Powerpoint background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786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985964" y="2085975"/>
            <a:ext cx="7156450" cy="146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57202" y="422275"/>
            <a:ext cx="4435475" cy="1371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985914" y="2934760"/>
            <a:ext cx="6472286" cy="1312638"/>
          </a:xfrm>
        </p:spPr>
        <p:txBody>
          <a:bodyPr anchor="t">
            <a:normAutofit/>
          </a:bodyPr>
          <a:lstStyle>
            <a:lvl1pPr algn="l">
              <a:defRPr sz="2700" b="0" i="0">
                <a:solidFill>
                  <a:schemeClr val="bg1"/>
                </a:solidFill>
                <a:uFillTx/>
                <a:latin typeface="Century Gothic"/>
                <a:cs typeface="Century Gothic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985914" y="4375460"/>
            <a:ext cx="5786486" cy="1920934"/>
          </a:xfrm>
        </p:spPr>
        <p:txBody>
          <a:bodyPr>
            <a:normAutofit/>
          </a:bodyPr>
          <a:lstStyle>
            <a:lvl1pPr marL="0" indent="0" algn="l">
              <a:buNone/>
              <a:defRPr sz="1800" b="0" i="0">
                <a:solidFill>
                  <a:srgbClr val="FFFFFF"/>
                </a:solidFill>
                <a:uFillTx/>
                <a:latin typeface="Century Gothic"/>
                <a:cs typeface="Century Gothic"/>
              </a:defRPr>
            </a:lvl1pPr>
            <a:lvl2pPr marL="342892" indent="0" algn="ctr">
              <a:buNone/>
              <a:defRPr>
                <a:solidFill>
                  <a:schemeClr val="tx1">
                    <a:tint val="75000"/>
                  </a:schemeClr>
                </a:solidFill>
                <a:uFillTx/>
              </a:defRPr>
            </a:lvl2pPr>
            <a:lvl3pPr marL="685783" indent="0" algn="ctr">
              <a:buNone/>
              <a:defRPr>
                <a:solidFill>
                  <a:schemeClr val="tx1">
                    <a:tint val="75000"/>
                  </a:schemeClr>
                </a:solidFill>
                <a:uFillTx/>
              </a:defRPr>
            </a:lvl3pPr>
            <a:lvl4pPr marL="1028675" indent="0" algn="ctr">
              <a:buNone/>
              <a:defRPr>
                <a:solidFill>
                  <a:schemeClr val="tx1">
                    <a:tint val="75000"/>
                  </a:schemeClr>
                </a:solidFill>
                <a:uFillTx/>
              </a:defRPr>
            </a:lvl4pPr>
            <a:lvl5pPr marL="1371566" indent="0" algn="ctr">
              <a:buNone/>
              <a:defRPr>
                <a:solidFill>
                  <a:schemeClr val="tx1">
                    <a:tint val="75000"/>
                  </a:schemeClr>
                </a:solidFill>
                <a:uFillTx/>
              </a:defRPr>
            </a:lvl5pPr>
            <a:lvl6pPr marL="1714457" indent="0" algn="ctr">
              <a:buNone/>
              <a:defRPr>
                <a:solidFill>
                  <a:schemeClr val="tx1">
                    <a:tint val="75000"/>
                  </a:schemeClr>
                </a:solidFill>
                <a:uFillTx/>
              </a:defRPr>
            </a:lvl6pPr>
            <a:lvl7pPr marL="2057348" indent="0" algn="ctr">
              <a:buNone/>
              <a:defRPr>
                <a:solidFill>
                  <a:schemeClr val="tx1">
                    <a:tint val="75000"/>
                  </a:schemeClr>
                </a:solidFill>
                <a:uFillTx/>
              </a:defRPr>
            </a:lvl7pPr>
            <a:lvl8pPr marL="2400240" indent="0" algn="ctr">
              <a:buNone/>
              <a:defRPr>
                <a:solidFill>
                  <a:schemeClr val="tx1">
                    <a:tint val="75000"/>
                  </a:schemeClr>
                </a:solidFill>
                <a:uFillTx/>
              </a:defRPr>
            </a:lvl8pPr>
            <a:lvl9pPr marL="2743132" indent="0" algn="ctr">
              <a:buNone/>
              <a:defRPr>
                <a:solidFill>
                  <a:schemeClr val="tx1">
                    <a:tint val="75000"/>
                  </a:schemeClr>
                </a:solidFill>
                <a:uFillTx/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xmlns="" val="428634450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57202" y="5897563"/>
            <a:ext cx="1971675" cy="60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7"/>
          <p:cNvPicPr>
            <a:picLocks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57201" y="1039817"/>
            <a:ext cx="8712200" cy="103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42"/>
            <a:ext cx="8229600" cy="868797"/>
          </a:xfrm>
        </p:spPr>
        <p:txBody>
          <a:bodyPr anchor="t">
            <a:normAutofit/>
          </a:bodyPr>
          <a:lstStyle>
            <a:lvl1pPr algn="l">
              <a:defRPr sz="2250" b="1" i="0">
                <a:solidFill>
                  <a:srgbClr val="000091"/>
                </a:solidFill>
                <a:uFillTx/>
                <a:latin typeface="Century Gothic"/>
                <a:cs typeface="Century Gothic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376670"/>
            <a:ext cx="8229600" cy="4749494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900"/>
              </a:spcAft>
              <a:defRPr sz="2250" b="0" i="0">
                <a:solidFill>
                  <a:srgbClr val="000091"/>
                </a:solidFill>
                <a:uFillTx/>
                <a:latin typeface="Century Gothic"/>
                <a:cs typeface="Century Gothic"/>
              </a:defRPr>
            </a:lvl1pPr>
            <a:lvl2pPr>
              <a:defRPr sz="2250" b="0" i="0">
                <a:solidFill>
                  <a:srgbClr val="000091"/>
                </a:solidFill>
                <a:uFillTx/>
                <a:latin typeface="Century Gothic"/>
                <a:cs typeface="Century Gothic"/>
              </a:defRPr>
            </a:lvl2pPr>
            <a:lvl3pPr>
              <a:defRPr sz="2250" b="0" i="0">
                <a:solidFill>
                  <a:srgbClr val="000091"/>
                </a:solidFill>
                <a:uFillTx/>
                <a:latin typeface="Century Gothic"/>
                <a:cs typeface="Century Gothic"/>
              </a:defRPr>
            </a:lvl3pPr>
            <a:lvl4pPr>
              <a:defRPr sz="2250" b="0" i="0">
                <a:solidFill>
                  <a:srgbClr val="000091"/>
                </a:solidFill>
                <a:uFillTx/>
                <a:latin typeface="Century Gothic"/>
                <a:cs typeface="Century Gothic"/>
              </a:defRPr>
            </a:lvl4pPr>
            <a:lvl5pPr>
              <a:defRPr sz="2250" b="0" i="0">
                <a:solidFill>
                  <a:srgbClr val="000091"/>
                </a:solidFill>
                <a:uFillTx/>
                <a:latin typeface="Century Gothic"/>
                <a:cs typeface="Century Gothic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90734647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7" y="180976"/>
            <a:ext cx="8597205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lIns="72000" tIns="72000" rIns="72000" bIns="72000" rtlCol="0">
            <a:normAutofit/>
          </a:bodyPr>
          <a:lstStyle>
            <a:lvl1pPr>
              <a:defRPr lang="en-GB" sz="105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2" y="1412776"/>
            <a:ext cx="8597205" cy="2143224"/>
          </a:xfrm>
        </p:spPr>
        <p:txBody>
          <a:bodyPr>
            <a:normAutofit/>
          </a:bodyPr>
          <a:lstStyle>
            <a:lvl1pPr>
              <a:defRPr sz="105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7" y="1039982"/>
            <a:ext cx="8597205" cy="288925"/>
          </a:xfrm>
        </p:spPr>
        <p:txBody>
          <a:bodyPr anchor="ctr">
            <a:noAutofit/>
          </a:bodyPr>
          <a:lstStyle>
            <a:lvl1pPr>
              <a:defRPr sz="135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7"/>
            <p:custDataLst>
              <p:tags r:id="rId1"/>
            </p:custDataLst>
          </p:nvPr>
        </p:nvSpPr>
        <p:spPr>
          <a:xfrm>
            <a:off x="8378825" y="6467479"/>
            <a:ext cx="514350" cy="231775"/>
          </a:xfrm>
        </p:spPr>
        <p:txBody>
          <a:bodyPr lIns="72000" tIns="72000" rIns="0" bIns="0"/>
          <a:lstStyle>
            <a:lvl1pPr algn="r" eaLnBrk="0" fontAlgn="base" hangingPunct="0">
              <a:spcBef>
                <a:spcPct val="0"/>
              </a:spcBef>
              <a:spcAft>
                <a:spcPct val="0"/>
              </a:spcAft>
              <a:defRPr sz="675">
                <a:solidFill>
                  <a:srgbClr val="1F497D"/>
                </a:solidFill>
                <a:latin typeface="Century Gothic" pitchFamily="34" charset="0"/>
              </a:defRPr>
            </a:lvl1pPr>
          </a:lstStyle>
          <a:p>
            <a:pPr>
              <a:defRPr/>
            </a:pPr>
            <a:fld id="{B87A898E-0048-4CB9-888A-EB2620E92BB0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8"/>
            <p:custDataLst>
              <p:tags r:id="rId2"/>
            </p:custDataLst>
          </p:nvPr>
        </p:nvSpPr>
        <p:spPr>
          <a:xfrm>
            <a:off x="4043364" y="6467479"/>
            <a:ext cx="4138612" cy="231775"/>
          </a:xfrm>
        </p:spPr>
        <p:txBody>
          <a:bodyPr lIns="0" tIns="72000" rIns="72000" bIns="0" anchor="b"/>
          <a:lstStyle>
            <a:lvl1pPr algn="l" eaLnBrk="0" fontAlgn="base" hangingPunct="0">
              <a:spcBef>
                <a:spcPct val="0"/>
              </a:spcBef>
              <a:spcAft>
                <a:spcPct val="0"/>
              </a:spcAft>
              <a:defRPr sz="600">
                <a:solidFill>
                  <a:srgbClr val="9BBB59"/>
                </a:solidFill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r>
              <a:rPr lang="en-GB"/>
              <a:t>WCG-PPT Slide Gallery-01112012.pptx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5609717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9" name="Rectangle 8"/>
            <p:cNvSpPr/>
            <p:nvPr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350">
                <a:solidFill>
                  <a:srgbClr val="FFFFFF"/>
                </a:solidFill>
              </a:endParaRPr>
            </a:p>
          </p:txBody>
        </p:sp>
        <p:pic>
          <p:nvPicPr>
            <p:cNvPr id="10" name="Picture 9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2835276" y="3497263"/>
            <a:ext cx="401638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27000" tIns="54000" rIns="27000" bIns="5400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spcBef>
                <a:spcPts val="225"/>
              </a:spcBef>
              <a:buFont typeface="Arial" panose="020B0604020202020204" pitchFamily="34" charset="0"/>
              <a:buNone/>
              <a:defRPr/>
            </a:pPr>
            <a:r>
              <a:rPr lang="en-GB" altLang="en-US" sz="825" b="1">
                <a:solidFill>
                  <a:srgbClr val="1F497D"/>
                </a:solidFill>
                <a:latin typeface="Century Gothic" panose="020B0502020202020204" pitchFamily="34" charset="0"/>
              </a:rPr>
              <a:t>Tel:</a:t>
            </a:r>
          </a:p>
        </p:txBody>
      </p:sp>
      <p:sp>
        <p:nvSpPr>
          <p:cNvPr id="15" name="Rectangle 14"/>
          <p:cNvSpPr>
            <a:spLocks noChangeArrowheads="1"/>
          </p:cNvSpPr>
          <p:nvPr userDrawn="1"/>
        </p:nvSpPr>
        <p:spPr bwMode="auto">
          <a:xfrm>
            <a:off x="4779965" y="3497263"/>
            <a:ext cx="4032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27000" tIns="54000" rIns="27000" bIns="5400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spcBef>
                <a:spcPts val="225"/>
              </a:spcBef>
              <a:buFont typeface="Arial" panose="020B0604020202020204" pitchFamily="34" charset="0"/>
              <a:buNone/>
              <a:defRPr/>
            </a:pPr>
            <a:r>
              <a:rPr lang="en-GB" altLang="en-US" sz="825" b="1">
                <a:solidFill>
                  <a:srgbClr val="1F497D"/>
                </a:solidFill>
                <a:latin typeface="Century Gothic" panose="020B0502020202020204" pitchFamily="34" charset="0"/>
              </a:rPr>
              <a:t>Fax:</a:t>
            </a:r>
          </a:p>
        </p:txBody>
      </p:sp>
      <p:sp>
        <p:nvSpPr>
          <p:cNvPr id="17" name="Rectangle 16"/>
          <p:cNvSpPr>
            <a:spLocks noChangeArrowheads="1"/>
          </p:cNvSpPr>
          <p:nvPr userDrawn="1"/>
        </p:nvSpPr>
        <p:spPr bwMode="auto">
          <a:xfrm>
            <a:off x="2835275" y="4043367"/>
            <a:ext cx="3733800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27000" tIns="54000" rIns="27000" bIns="54000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spcBef>
                <a:spcPts val="225"/>
              </a:spcBef>
              <a:buFont typeface="Arial" panose="020B0604020202020204" pitchFamily="34" charset="0"/>
              <a:buNone/>
              <a:defRPr/>
            </a:pPr>
            <a:r>
              <a:rPr lang="en-GB" altLang="en-US" sz="825" b="1">
                <a:solidFill>
                  <a:srgbClr val="1F497D"/>
                </a:solidFill>
                <a:latin typeface="Century Gothic" panose="020B0502020202020204" pitchFamily="34" charset="0"/>
              </a:rPr>
              <a:t>www.westerncape.gov.za</a:t>
            </a:r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295276" y="565152"/>
            <a:ext cx="1848583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eaLnBrk="1" hangingPunct="1">
              <a:defRPr/>
            </a:pPr>
            <a:r>
              <a:rPr lang="en-US" altLang="en-US" sz="2400">
                <a:solidFill>
                  <a:srgbClr val="FFFFFF"/>
                </a:solidFill>
                <a:latin typeface="Century Gothic" panose="020B0502020202020204" pitchFamily="34" charset="0"/>
              </a:rPr>
              <a:t>Contact Us</a:t>
            </a:r>
            <a:endParaRPr lang="en-GB" altLang="en-US" sz="1800">
              <a:solidFill>
                <a:srgbClr val="FFFFFF"/>
              </a:solidFill>
            </a:endParaRPr>
          </a:p>
        </p:txBody>
      </p:sp>
      <p:pic>
        <p:nvPicPr>
          <p:cNvPr id="20" name="Picture 2" descr="C:\Users\Conny\Desktop\WCG\WCG - Logo\PNG\Logos blue\Education\WCG - Logo - Education - Tagline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276475" y="1882775"/>
            <a:ext cx="2579688" cy="730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834999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05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834999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825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825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13012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825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2834999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825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2834997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825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98421490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Blank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/>
          <p:nvPr/>
        </p:nvGrpSpPr>
        <p:grpSpPr>
          <a:xfrm>
            <a:off x="300537" y="362425"/>
            <a:ext cx="2621984" cy="6204388"/>
            <a:chOff x="400714" y="362425"/>
            <a:chExt cx="3495979" cy="6204388"/>
          </a:xfrm>
        </p:grpSpPr>
        <p:sp>
          <p:nvSpPr>
            <p:cNvPr id="6" name="Freeform 5"/>
            <p:cNvSpPr>
              <a:spLocks noEditPoints="1"/>
            </p:cNvSpPr>
            <p:nvPr/>
          </p:nvSpPr>
          <p:spPr bwMode="auto">
            <a:xfrm>
              <a:off x="400714" y="362425"/>
              <a:ext cx="2218442" cy="6204388"/>
            </a:xfrm>
            <a:custGeom>
              <a:avLst/>
              <a:gdLst/>
              <a:ahLst/>
              <a:cxnLst/>
              <a:rect l="0" t="0" r="r" b="b"/>
              <a:pathLst>
                <a:path w="697" h="1954">
                  <a:moveTo>
                    <a:pt x="251" y="1472"/>
                  </a:moveTo>
                  <a:cubicBezTo>
                    <a:pt x="258" y="1472"/>
                    <a:pt x="252" y="1463"/>
                    <a:pt x="251" y="1462"/>
                  </a:cubicBezTo>
                  <a:cubicBezTo>
                    <a:pt x="248" y="1422"/>
                    <a:pt x="241" y="1424"/>
                    <a:pt x="241" y="1419"/>
                  </a:cubicBezTo>
                  <a:cubicBezTo>
                    <a:pt x="227" y="1388"/>
                    <a:pt x="226" y="1380"/>
                    <a:pt x="221" y="1376"/>
                  </a:cubicBezTo>
                  <a:cubicBezTo>
                    <a:pt x="209" y="1355"/>
                    <a:pt x="209" y="1347"/>
                    <a:pt x="203" y="1344"/>
                  </a:cubicBezTo>
                  <a:cubicBezTo>
                    <a:pt x="169" y="1285"/>
                    <a:pt x="162" y="1275"/>
                    <a:pt x="156" y="1263"/>
                  </a:cubicBezTo>
                  <a:cubicBezTo>
                    <a:pt x="144" y="1242"/>
                    <a:pt x="141" y="1236"/>
                    <a:pt x="138" y="1231"/>
                  </a:cubicBezTo>
                  <a:cubicBezTo>
                    <a:pt x="107" y="1177"/>
                    <a:pt x="108" y="1168"/>
                    <a:pt x="103" y="1165"/>
                  </a:cubicBezTo>
                  <a:cubicBezTo>
                    <a:pt x="90" y="1142"/>
                    <a:pt x="83" y="1131"/>
                    <a:pt x="82" y="1127"/>
                  </a:cubicBezTo>
                  <a:cubicBezTo>
                    <a:pt x="66" y="1090"/>
                    <a:pt x="67" y="1081"/>
                    <a:pt x="62" y="1077"/>
                  </a:cubicBezTo>
                  <a:cubicBezTo>
                    <a:pt x="57" y="1049"/>
                    <a:pt x="51" y="1046"/>
                    <a:pt x="52" y="1037"/>
                  </a:cubicBezTo>
                  <a:cubicBezTo>
                    <a:pt x="48" y="1016"/>
                    <a:pt x="44" y="1007"/>
                    <a:pt x="42" y="1002"/>
                  </a:cubicBezTo>
                  <a:cubicBezTo>
                    <a:pt x="32" y="970"/>
                    <a:pt x="24" y="961"/>
                    <a:pt x="22" y="946"/>
                  </a:cubicBezTo>
                  <a:cubicBezTo>
                    <a:pt x="13" y="922"/>
                    <a:pt x="11" y="916"/>
                    <a:pt x="9" y="909"/>
                  </a:cubicBezTo>
                  <a:cubicBezTo>
                    <a:pt x="5" y="889"/>
                    <a:pt x="11" y="888"/>
                    <a:pt x="9" y="896"/>
                  </a:cubicBezTo>
                  <a:cubicBezTo>
                    <a:pt x="25" y="935"/>
                    <a:pt x="22" y="943"/>
                    <a:pt x="27" y="944"/>
                  </a:cubicBezTo>
                  <a:cubicBezTo>
                    <a:pt x="47" y="979"/>
                    <a:pt x="44" y="987"/>
                    <a:pt x="45" y="992"/>
                  </a:cubicBezTo>
                  <a:cubicBezTo>
                    <a:pt x="78" y="1045"/>
                    <a:pt x="85" y="1060"/>
                    <a:pt x="95" y="1072"/>
                  </a:cubicBezTo>
                  <a:cubicBezTo>
                    <a:pt x="141" y="1130"/>
                    <a:pt x="141" y="1136"/>
                    <a:pt x="140" y="1142"/>
                  </a:cubicBezTo>
                  <a:cubicBezTo>
                    <a:pt x="159" y="1162"/>
                    <a:pt x="156" y="1170"/>
                    <a:pt x="160" y="1170"/>
                  </a:cubicBezTo>
                  <a:cubicBezTo>
                    <a:pt x="198" y="1238"/>
                    <a:pt x="204" y="1243"/>
                    <a:pt x="206" y="1251"/>
                  </a:cubicBezTo>
                  <a:cubicBezTo>
                    <a:pt x="218" y="1278"/>
                    <a:pt x="219" y="1288"/>
                    <a:pt x="226" y="1291"/>
                  </a:cubicBezTo>
                  <a:cubicBezTo>
                    <a:pt x="231" y="1298"/>
                    <a:pt x="231" y="1292"/>
                    <a:pt x="228" y="1288"/>
                  </a:cubicBezTo>
                  <a:cubicBezTo>
                    <a:pt x="196" y="1218"/>
                    <a:pt x="198" y="1206"/>
                    <a:pt x="191" y="1203"/>
                  </a:cubicBezTo>
                  <a:cubicBezTo>
                    <a:pt x="168" y="1159"/>
                    <a:pt x="164" y="1153"/>
                    <a:pt x="160" y="1147"/>
                  </a:cubicBezTo>
                  <a:cubicBezTo>
                    <a:pt x="114" y="1068"/>
                    <a:pt x="104" y="1068"/>
                    <a:pt x="105" y="1057"/>
                  </a:cubicBezTo>
                  <a:cubicBezTo>
                    <a:pt x="67" y="1000"/>
                    <a:pt x="58" y="1000"/>
                    <a:pt x="57" y="992"/>
                  </a:cubicBezTo>
                  <a:cubicBezTo>
                    <a:pt x="80" y="1011"/>
                    <a:pt x="81" y="1021"/>
                    <a:pt x="87" y="1024"/>
                  </a:cubicBezTo>
                  <a:cubicBezTo>
                    <a:pt x="103" y="1041"/>
                    <a:pt x="100" y="1049"/>
                    <a:pt x="105" y="1049"/>
                  </a:cubicBezTo>
                  <a:cubicBezTo>
                    <a:pt x="129" y="1079"/>
                    <a:pt x="130" y="1087"/>
                    <a:pt x="135" y="1092"/>
                  </a:cubicBezTo>
                  <a:cubicBezTo>
                    <a:pt x="163" y="1128"/>
                    <a:pt x="159" y="1136"/>
                    <a:pt x="163" y="1137"/>
                  </a:cubicBezTo>
                  <a:cubicBezTo>
                    <a:pt x="199" y="1191"/>
                    <a:pt x="204" y="1205"/>
                    <a:pt x="211" y="1218"/>
                  </a:cubicBezTo>
                  <a:cubicBezTo>
                    <a:pt x="232" y="1237"/>
                    <a:pt x="226" y="1238"/>
                    <a:pt x="228" y="1230"/>
                  </a:cubicBezTo>
                  <a:cubicBezTo>
                    <a:pt x="202" y="1163"/>
                    <a:pt x="196" y="1163"/>
                    <a:pt x="198" y="1155"/>
                  </a:cubicBezTo>
                  <a:cubicBezTo>
                    <a:pt x="171" y="1106"/>
                    <a:pt x="167" y="1104"/>
                    <a:pt x="165" y="1100"/>
                  </a:cubicBezTo>
                  <a:cubicBezTo>
                    <a:pt x="140" y="1062"/>
                    <a:pt x="138" y="1052"/>
                    <a:pt x="133" y="1047"/>
                  </a:cubicBezTo>
                  <a:cubicBezTo>
                    <a:pt x="76" y="924"/>
                    <a:pt x="76" y="918"/>
                    <a:pt x="75" y="913"/>
                  </a:cubicBezTo>
                  <a:cubicBezTo>
                    <a:pt x="53" y="840"/>
                    <a:pt x="56" y="836"/>
                    <a:pt x="57" y="830"/>
                  </a:cubicBezTo>
                  <a:cubicBezTo>
                    <a:pt x="36" y="706"/>
                    <a:pt x="30" y="721"/>
                    <a:pt x="34" y="725"/>
                  </a:cubicBezTo>
                  <a:cubicBezTo>
                    <a:pt x="45" y="767"/>
                    <a:pt x="46" y="774"/>
                    <a:pt x="49" y="778"/>
                  </a:cubicBezTo>
                  <a:cubicBezTo>
                    <a:pt x="70" y="833"/>
                    <a:pt x="67" y="843"/>
                    <a:pt x="72" y="846"/>
                  </a:cubicBezTo>
                  <a:cubicBezTo>
                    <a:pt x="94" y="887"/>
                    <a:pt x="97" y="899"/>
                    <a:pt x="102" y="908"/>
                  </a:cubicBezTo>
                  <a:cubicBezTo>
                    <a:pt x="143" y="980"/>
                    <a:pt x="154" y="992"/>
                    <a:pt x="160" y="1007"/>
                  </a:cubicBezTo>
                  <a:cubicBezTo>
                    <a:pt x="212" y="1106"/>
                    <a:pt x="218" y="1122"/>
                    <a:pt x="223" y="1137"/>
                  </a:cubicBezTo>
                  <a:cubicBezTo>
                    <a:pt x="218" y="1115"/>
                    <a:pt x="222" y="1106"/>
                    <a:pt x="221" y="1102"/>
                  </a:cubicBezTo>
                  <a:cubicBezTo>
                    <a:pt x="210" y="1080"/>
                    <a:pt x="213" y="1072"/>
                    <a:pt x="208" y="1072"/>
                  </a:cubicBezTo>
                  <a:cubicBezTo>
                    <a:pt x="195" y="1023"/>
                    <a:pt x="188" y="1020"/>
                    <a:pt x="188" y="1012"/>
                  </a:cubicBezTo>
                  <a:cubicBezTo>
                    <a:pt x="149" y="930"/>
                    <a:pt x="144" y="927"/>
                    <a:pt x="145" y="918"/>
                  </a:cubicBezTo>
                  <a:cubicBezTo>
                    <a:pt x="125" y="876"/>
                    <a:pt x="120" y="873"/>
                    <a:pt x="117" y="868"/>
                  </a:cubicBezTo>
                  <a:cubicBezTo>
                    <a:pt x="102" y="832"/>
                    <a:pt x="100" y="833"/>
                    <a:pt x="100" y="830"/>
                  </a:cubicBezTo>
                  <a:cubicBezTo>
                    <a:pt x="80" y="793"/>
                    <a:pt x="77" y="788"/>
                    <a:pt x="75" y="783"/>
                  </a:cubicBezTo>
                  <a:cubicBezTo>
                    <a:pt x="45" y="730"/>
                    <a:pt x="43" y="716"/>
                    <a:pt x="34" y="710"/>
                  </a:cubicBezTo>
                  <a:cubicBezTo>
                    <a:pt x="25" y="678"/>
                    <a:pt x="34" y="684"/>
                    <a:pt x="32" y="690"/>
                  </a:cubicBezTo>
                  <a:cubicBezTo>
                    <a:pt x="50" y="733"/>
                    <a:pt x="60" y="733"/>
                    <a:pt x="59" y="745"/>
                  </a:cubicBezTo>
                  <a:cubicBezTo>
                    <a:pt x="80" y="780"/>
                    <a:pt x="81" y="783"/>
                    <a:pt x="85" y="785"/>
                  </a:cubicBezTo>
                  <a:cubicBezTo>
                    <a:pt x="113" y="833"/>
                    <a:pt x="115" y="842"/>
                    <a:pt x="117" y="851"/>
                  </a:cubicBezTo>
                  <a:cubicBezTo>
                    <a:pt x="147" y="899"/>
                    <a:pt x="151" y="907"/>
                    <a:pt x="153" y="916"/>
                  </a:cubicBezTo>
                  <a:cubicBezTo>
                    <a:pt x="168" y="945"/>
                    <a:pt x="171" y="952"/>
                    <a:pt x="173" y="961"/>
                  </a:cubicBezTo>
                  <a:cubicBezTo>
                    <a:pt x="190" y="999"/>
                    <a:pt x="200" y="1010"/>
                    <a:pt x="203" y="1029"/>
                  </a:cubicBezTo>
                  <a:cubicBezTo>
                    <a:pt x="198" y="998"/>
                    <a:pt x="198" y="994"/>
                    <a:pt x="196" y="994"/>
                  </a:cubicBezTo>
                  <a:cubicBezTo>
                    <a:pt x="175" y="911"/>
                    <a:pt x="168" y="909"/>
                    <a:pt x="170" y="898"/>
                  </a:cubicBezTo>
                  <a:cubicBezTo>
                    <a:pt x="131" y="811"/>
                    <a:pt x="131" y="802"/>
                    <a:pt x="125" y="800"/>
                  </a:cubicBezTo>
                  <a:cubicBezTo>
                    <a:pt x="105" y="747"/>
                    <a:pt x="103" y="742"/>
                    <a:pt x="100" y="740"/>
                  </a:cubicBezTo>
                  <a:cubicBezTo>
                    <a:pt x="82" y="701"/>
                    <a:pt x="78" y="699"/>
                    <a:pt x="77" y="695"/>
                  </a:cubicBezTo>
                  <a:cubicBezTo>
                    <a:pt x="67" y="672"/>
                    <a:pt x="60" y="674"/>
                    <a:pt x="62" y="667"/>
                  </a:cubicBezTo>
                  <a:cubicBezTo>
                    <a:pt x="44" y="641"/>
                    <a:pt x="39" y="635"/>
                    <a:pt x="34" y="629"/>
                  </a:cubicBezTo>
                  <a:cubicBezTo>
                    <a:pt x="21" y="597"/>
                    <a:pt x="29" y="609"/>
                    <a:pt x="37" y="622"/>
                  </a:cubicBezTo>
                  <a:cubicBezTo>
                    <a:pt x="75" y="681"/>
                    <a:pt x="85" y="681"/>
                    <a:pt x="85" y="692"/>
                  </a:cubicBezTo>
                  <a:cubicBezTo>
                    <a:pt x="108" y="731"/>
                    <a:pt x="109" y="735"/>
                    <a:pt x="110" y="740"/>
                  </a:cubicBezTo>
                  <a:cubicBezTo>
                    <a:pt x="123" y="777"/>
                    <a:pt x="130" y="775"/>
                    <a:pt x="130" y="780"/>
                  </a:cubicBezTo>
                  <a:cubicBezTo>
                    <a:pt x="151" y="822"/>
                    <a:pt x="153" y="840"/>
                    <a:pt x="163" y="851"/>
                  </a:cubicBezTo>
                  <a:cubicBezTo>
                    <a:pt x="179" y="903"/>
                    <a:pt x="184" y="907"/>
                    <a:pt x="185" y="916"/>
                  </a:cubicBezTo>
                  <a:cubicBezTo>
                    <a:pt x="203" y="963"/>
                    <a:pt x="199" y="973"/>
                    <a:pt x="201" y="976"/>
                  </a:cubicBezTo>
                  <a:cubicBezTo>
                    <a:pt x="236" y="1076"/>
                    <a:pt x="226" y="1071"/>
                    <a:pt x="228" y="1064"/>
                  </a:cubicBezTo>
                  <a:cubicBezTo>
                    <a:pt x="218" y="972"/>
                    <a:pt x="212" y="965"/>
                    <a:pt x="213" y="951"/>
                  </a:cubicBezTo>
                  <a:cubicBezTo>
                    <a:pt x="185" y="862"/>
                    <a:pt x="181" y="854"/>
                    <a:pt x="178" y="845"/>
                  </a:cubicBezTo>
                  <a:cubicBezTo>
                    <a:pt x="145" y="767"/>
                    <a:pt x="139" y="762"/>
                    <a:pt x="135" y="755"/>
                  </a:cubicBezTo>
                  <a:cubicBezTo>
                    <a:pt x="119" y="717"/>
                    <a:pt x="114" y="719"/>
                    <a:pt x="112" y="717"/>
                  </a:cubicBezTo>
                  <a:cubicBezTo>
                    <a:pt x="92" y="686"/>
                    <a:pt x="92" y="676"/>
                    <a:pt x="87" y="669"/>
                  </a:cubicBezTo>
                  <a:cubicBezTo>
                    <a:pt x="56" y="621"/>
                    <a:pt x="53" y="614"/>
                    <a:pt x="49" y="607"/>
                  </a:cubicBezTo>
                  <a:cubicBezTo>
                    <a:pt x="41" y="564"/>
                    <a:pt x="41" y="578"/>
                    <a:pt x="47" y="586"/>
                  </a:cubicBezTo>
                  <a:cubicBezTo>
                    <a:pt x="72" y="633"/>
                    <a:pt x="77" y="635"/>
                    <a:pt x="77" y="642"/>
                  </a:cubicBezTo>
                  <a:cubicBezTo>
                    <a:pt x="117" y="700"/>
                    <a:pt x="120" y="711"/>
                    <a:pt x="125" y="720"/>
                  </a:cubicBezTo>
                  <a:cubicBezTo>
                    <a:pt x="136" y="738"/>
                    <a:pt x="138" y="743"/>
                    <a:pt x="143" y="745"/>
                  </a:cubicBezTo>
                  <a:cubicBezTo>
                    <a:pt x="165" y="796"/>
                    <a:pt x="169" y="801"/>
                    <a:pt x="173" y="805"/>
                  </a:cubicBezTo>
                  <a:cubicBezTo>
                    <a:pt x="198" y="877"/>
                    <a:pt x="205" y="880"/>
                    <a:pt x="206" y="888"/>
                  </a:cubicBezTo>
                  <a:cubicBezTo>
                    <a:pt x="210" y="912"/>
                    <a:pt x="215" y="915"/>
                    <a:pt x="216" y="923"/>
                  </a:cubicBezTo>
                  <a:cubicBezTo>
                    <a:pt x="239" y="982"/>
                    <a:pt x="234" y="967"/>
                    <a:pt x="238" y="961"/>
                  </a:cubicBezTo>
                  <a:cubicBezTo>
                    <a:pt x="220" y="890"/>
                    <a:pt x="217" y="886"/>
                    <a:pt x="218" y="876"/>
                  </a:cubicBezTo>
                  <a:cubicBezTo>
                    <a:pt x="175" y="774"/>
                    <a:pt x="176" y="763"/>
                    <a:pt x="173" y="755"/>
                  </a:cubicBezTo>
                  <a:cubicBezTo>
                    <a:pt x="155" y="729"/>
                    <a:pt x="156" y="717"/>
                    <a:pt x="150" y="712"/>
                  </a:cubicBezTo>
                  <a:cubicBezTo>
                    <a:pt x="123" y="663"/>
                    <a:pt x="122" y="653"/>
                    <a:pt x="115" y="649"/>
                  </a:cubicBezTo>
                  <a:cubicBezTo>
                    <a:pt x="86" y="590"/>
                    <a:pt x="85" y="586"/>
                    <a:pt x="85" y="581"/>
                  </a:cubicBezTo>
                  <a:cubicBezTo>
                    <a:pt x="60" y="516"/>
                    <a:pt x="65" y="519"/>
                    <a:pt x="64" y="528"/>
                  </a:cubicBezTo>
                  <a:cubicBezTo>
                    <a:pt x="82" y="567"/>
                    <a:pt x="89" y="567"/>
                    <a:pt x="87" y="576"/>
                  </a:cubicBezTo>
                  <a:cubicBezTo>
                    <a:pt x="102" y="603"/>
                    <a:pt x="102" y="606"/>
                    <a:pt x="105" y="606"/>
                  </a:cubicBezTo>
                  <a:cubicBezTo>
                    <a:pt x="133" y="652"/>
                    <a:pt x="128" y="663"/>
                    <a:pt x="135" y="662"/>
                  </a:cubicBezTo>
                  <a:cubicBezTo>
                    <a:pt x="162" y="716"/>
                    <a:pt x="168" y="721"/>
                    <a:pt x="170" y="730"/>
                  </a:cubicBezTo>
                  <a:cubicBezTo>
                    <a:pt x="201" y="805"/>
                    <a:pt x="206" y="810"/>
                    <a:pt x="208" y="818"/>
                  </a:cubicBezTo>
                  <a:cubicBezTo>
                    <a:pt x="243" y="905"/>
                    <a:pt x="235" y="893"/>
                    <a:pt x="233" y="888"/>
                  </a:cubicBezTo>
                  <a:cubicBezTo>
                    <a:pt x="221" y="836"/>
                    <a:pt x="220" y="828"/>
                    <a:pt x="216" y="823"/>
                  </a:cubicBezTo>
                  <a:cubicBezTo>
                    <a:pt x="173" y="707"/>
                    <a:pt x="173" y="697"/>
                    <a:pt x="170" y="689"/>
                  </a:cubicBezTo>
                  <a:cubicBezTo>
                    <a:pt x="157" y="663"/>
                    <a:pt x="154" y="657"/>
                    <a:pt x="150" y="652"/>
                  </a:cubicBezTo>
                  <a:cubicBezTo>
                    <a:pt x="119" y="602"/>
                    <a:pt x="122" y="594"/>
                    <a:pt x="117" y="594"/>
                  </a:cubicBezTo>
                  <a:cubicBezTo>
                    <a:pt x="119" y="590"/>
                    <a:pt x="124" y="592"/>
                    <a:pt x="125" y="596"/>
                  </a:cubicBezTo>
                  <a:cubicBezTo>
                    <a:pt x="159" y="641"/>
                    <a:pt x="154" y="651"/>
                    <a:pt x="163" y="649"/>
                  </a:cubicBezTo>
                  <a:cubicBezTo>
                    <a:pt x="185" y="694"/>
                    <a:pt x="183" y="708"/>
                    <a:pt x="190" y="712"/>
                  </a:cubicBezTo>
                  <a:cubicBezTo>
                    <a:pt x="211" y="753"/>
                    <a:pt x="208" y="762"/>
                    <a:pt x="213" y="762"/>
                  </a:cubicBezTo>
                  <a:cubicBezTo>
                    <a:pt x="237" y="847"/>
                    <a:pt x="238" y="850"/>
                    <a:pt x="238" y="853"/>
                  </a:cubicBezTo>
                  <a:cubicBezTo>
                    <a:pt x="246" y="870"/>
                    <a:pt x="242" y="860"/>
                    <a:pt x="243" y="855"/>
                  </a:cubicBezTo>
                  <a:cubicBezTo>
                    <a:pt x="231" y="791"/>
                    <a:pt x="232" y="779"/>
                    <a:pt x="228" y="757"/>
                  </a:cubicBezTo>
                  <a:cubicBezTo>
                    <a:pt x="212" y="721"/>
                    <a:pt x="215" y="712"/>
                    <a:pt x="210" y="712"/>
                  </a:cubicBezTo>
                  <a:cubicBezTo>
                    <a:pt x="190" y="661"/>
                    <a:pt x="188" y="652"/>
                    <a:pt x="183" y="647"/>
                  </a:cubicBezTo>
                  <a:cubicBezTo>
                    <a:pt x="162" y="617"/>
                    <a:pt x="161" y="598"/>
                    <a:pt x="150" y="589"/>
                  </a:cubicBezTo>
                  <a:cubicBezTo>
                    <a:pt x="126" y="540"/>
                    <a:pt x="121" y="535"/>
                    <a:pt x="117" y="528"/>
                  </a:cubicBezTo>
                  <a:cubicBezTo>
                    <a:pt x="101" y="492"/>
                    <a:pt x="98" y="489"/>
                    <a:pt x="97" y="486"/>
                  </a:cubicBezTo>
                  <a:cubicBezTo>
                    <a:pt x="80" y="432"/>
                    <a:pt x="73" y="429"/>
                    <a:pt x="74" y="418"/>
                  </a:cubicBezTo>
                  <a:cubicBezTo>
                    <a:pt x="93" y="455"/>
                    <a:pt x="94" y="458"/>
                    <a:pt x="94" y="463"/>
                  </a:cubicBezTo>
                  <a:cubicBezTo>
                    <a:pt x="143" y="547"/>
                    <a:pt x="140" y="555"/>
                    <a:pt x="145" y="556"/>
                  </a:cubicBezTo>
                  <a:cubicBezTo>
                    <a:pt x="164" y="593"/>
                    <a:pt x="170" y="599"/>
                    <a:pt x="173" y="606"/>
                  </a:cubicBezTo>
                  <a:cubicBezTo>
                    <a:pt x="191" y="642"/>
                    <a:pt x="200" y="654"/>
                    <a:pt x="205" y="669"/>
                  </a:cubicBezTo>
                  <a:cubicBezTo>
                    <a:pt x="228" y="720"/>
                    <a:pt x="226" y="733"/>
                    <a:pt x="233" y="737"/>
                  </a:cubicBezTo>
                  <a:cubicBezTo>
                    <a:pt x="244" y="794"/>
                    <a:pt x="247" y="802"/>
                    <a:pt x="246" y="815"/>
                  </a:cubicBezTo>
                  <a:cubicBezTo>
                    <a:pt x="257" y="840"/>
                    <a:pt x="255" y="834"/>
                    <a:pt x="256" y="830"/>
                  </a:cubicBezTo>
                  <a:cubicBezTo>
                    <a:pt x="249" y="738"/>
                    <a:pt x="244" y="737"/>
                    <a:pt x="243" y="732"/>
                  </a:cubicBezTo>
                  <a:cubicBezTo>
                    <a:pt x="217" y="655"/>
                    <a:pt x="208" y="642"/>
                    <a:pt x="203" y="624"/>
                  </a:cubicBezTo>
                  <a:cubicBezTo>
                    <a:pt x="179" y="566"/>
                    <a:pt x="170" y="562"/>
                    <a:pt x="170" y="551"/>
                  </a:cubicBezTo>
                  <a:cubicBezTo>
                    <a:pt x="156" y="511"/>
                    <a:pt x="145" y="501"/>
                    <a:pt x="142" y="483"/>
                  </a:cubicBezTo>
                  <a:cubicBezTo>
                    <a:pt x="140" y="458"/>
                    <a:pt x="142" y="465"/>
                    <a:pt x="145" y="471"/>
                  </a:cubicBezTo>
                  <a:cubicBezTo>
                    <a:pt x="163" y="523"/>
                    <a:pt x="171" y="533"/>
                    <a:pt x="175" y="546"/>
                  </a:cubicBezTo>
                  <a:cubicBezTo>
                    <a:pt x="196" y="591"/>
                    <a:pt x="206" y="598"/>
                    <a:pt x="208" y="614"/>
                  </a:cubicBezTo>
                  <a:cubicBezTo>
                    <a:pt x="231" y="662"/>
                    <a:pt x="236" y="674"/>
                    <a:pt x="241" y="687"/>
                  </a:cubicBezTo>
                  <a:cubicBezTo>
                    <a:pt x="252" y="718"/>
                    <a:pt x="249" y="725"/>
                    <a:pt x="253" y="725"/>
                  </a:cubicBezTo>
                  <a:cubicBezTo>
                    <a:pt x="268" y="760"/>
                    <a:pt x="259" y="754"/>
                    <a:pt x="261" y="750"/>
                  </a:cubicBezTo>
                  <a:cubicBezTo>
                    <a:pt x="260" y="703"/>
                    <a:pt x="254" y="700"/>
                    <a:pt x="258" y="692"/>
                  </a:cubicBezTo>
                  <a:cubicBezTo>
                    <a:pt x="248" y="658"/>
                    <a:pt x="249" y="652"/>
                    <a:pt x="246" y="652"/>
                  </a:cubicBezTo>
                  <a:cubicBezTo>
                    <a:pt x="229" y="597"/>
                    <a:pt x="228" y="593"/>
                    <a:pt x="228" y="589"/>
                  </a:cubicBezTo>
                  <a:cubicBezTo>
                    <a:pt x="211" y="547"/>
                    <a:pt x="207" y="538"/>
                    <a:pt x="203" y="528"/>
                  </a:cubicBezTo>
                  <a:cubicBezTo>
                    <a:pt x="186" y="481"/>
                    <a:pt x="179" y="480"/>
                    <a:pt x="180" y="473"/>
                  </a:cubicBezTo>
                  <a:cubicBezTo>
                    <a:pt x="156" y="407"/>
                    <a:pt x="153" y="397"/>
                    <a:pt x="150" y="387"/>
                  </a:cubicBezTo>
                  <a:cubicBezTo>
                    <a:pt x="147" y="345"/>
                    <a:pt x="152" y="348"/>
                    <a:pt x="150" y="357"/>
                  </a:cubicBezTo>
                  <a:cubicBezTo>
                    <a:pt x="176" y="446"/>
                    <a:pt x="183" y="456"/>
                    <a:pt x="188" y="468"/>
                  </a:cubicBezTo>
                  <a:cubicBezTo>
                    <a:pt x="206" y="507"/>
                    <a:pt x="205" y="512"/>
                    <a:pt x="205" y="516"/>
                  </a:cubicBezTo>
                  <a:cubicBezTo>
                    <a:pt x="224" y="553"/>
                    <a:pt x="228" y="566"/>
                    <a:pt x="233" y="579"/>
                  </a:cubicBezTo>
                  <a:cubicBezTo>
                    <a:pt x="232" y="555"/>
                    <a:pt x="229" y="552"/>
                    <a:pt x="228" y="546"/>
                  </a:cubicBezTo>
                  <a:cubicBezTo>
                    <a:pt x="212" y="499"/>
                    <a:pt x="215" y="491"/>
                    <a:pt x="210" y="491"/>
                  </a:cubicBezTo>
                  <a:cubicBezTo>
                    <a:pt x="198" y="374"/>
                    <a:pt x="193" y="371"/>
                    <a:pt x="198" y="360"/>
                  </a:cubicBezTo>
                  <a:cubicBezTo>
                    <a:pt x="209" y="429"/>
                    <a:pt x="211" y="465"/>
                    <a:pt x="223" y="491"/>
                  </a:cubicBezTo>
                  <a:cubicBezTo>
                    <a:pt x="280" y="680"/>
                    <a:pt x="276" y="677"/>
                    <a:pt x="276" y="674"/>
                  </a:cubicBezTo>
                  <a:cubicBezTo>
                    <a:pt x="265" y="621"/>
                    <a:pt x="263" y="596"/>
                    <a:pt x="256" y="576"/>
                  </a:cubicBezTo>
                  <a:cubicBezTo>
                    <a:pt x="238" y="489"/>
                    <a:pt x="237" y="484"/>
                    <a:pt x="233" y="481"/>
                  </a:cubicBezTo>
                  <a:cubicBezTo>
                    <a:pt x="229" y="441"/>
                    <a:pt x="223" y="426"/>
                    <a:pt x="223" y="415"/>
                  </a:cubicBezTo>
                  <a:cubicBezTo>
                    <a:pt x="215" y="326"/>
                    <a:pt x="215" y="313"/>
                    <a:pt x="215" y="299"/>
                  </a:cubicBezTo>
                  <a:cubicBezTo>
                    <a:pt x="216" y="264"/>
                    <a:pt x="215" y="246"/>
                    <a:pt x="215" y="229"/>
                  </a:cubicBezTo>
                  <a:cubicBezTo>
                    <a:pt x="220" y="243"/>
                    <a:pt x="217" y="244"/>
                    <a:pt x="220" y="252"/>
                  </a:cubicBezTo>
                  <a:cubicBezTo>
                    <a:pt x="227" y="394"/>
                    <a:pt x="231" y="403"/>
                    <a:pt x="230" y="418"/>
                  </a:cubicBezTo>
                  <a:cubicBezTo>
                    <a:pt x="241" y="471"/>
                    <a:pt x="249" y="489"/>
                    <a:pt x="253" y="511"/>
                  </a:cubicBezTo>
                  <a:cubicBezTo>
                    <a:pt x="269" y="599"/>
                    <a:pt x="275" y="599"/>
                    <a:pt x="273" y="606"/>
                  </a:cubicBezTo>
                  <a:cubicBezTo>
                    <a:pt x="283" y="651"/>
                    <a:pt x="286" y="652"/>
                    <a:pt x="286" y="672"/>
                  </a:cubicBezTo>
                  <a:cubicBezTo>
                    <a:pt x="296" y="620"/>
                    <a:pt x="298" y="608"/>
                    <a:pt x="293" y="589"/>
                  </a:cubicBezTo>
                  <a:cubicBezTo>
                    <a:pt x="280" y="509"/>
                    <a:pt x="286" y="493"/>
                    <a:pt x="281" y="488"/>
                  </a:cubicBezTo>
                  <a:cubicBezTo>
                    <a:pt x="267" y="299"/>
                    <a:pt x="263" y="266"/>
                    <a:pt x="268" y="241"/>
                  </a:cubicBezTo>
                  <a:cubicBezTo>
                    <a:pt x="274" y="196"/>
                    <a:pt x="264" y="191"/>
                    <a:pt x="270" y="186"/>
                  </a:cubicBezTo>
                  <a:cubicBezTo>
                    <a:pt x="277" y="197"/>
                    <a:pt x="273" y="206"/>
                    <a:pt x="273" y="216"/>
                  </a:cubicBezTo>
                  <a:cubicBezTo>
                    <a:pt x="276" y="229"/>
                    <a:pt x="273" y="230"/>
                    <a:pt x="273" y="239"/>
                  </a:cubicBezTo>
                  <a:cubicBezTo>
                    <a:pt x="284" y="423"/>
                    <a:pt x="283" y="439"/>
                    <a:pt x="286" y="453"/>
                  </a:cubicBezTo>
                  <a:cubicBezTo>
                    <a:pt x="292" y="522"/>
                    <a:pt x="304" y="540"/>
                    <a:pt x="303" y="574"/>
                  </a:cubicBezTo>
                  <a:cubicBezTo>
                    <a:pt x="306" y="533"/>
                    <a:pt x="306" y="521"/>
                    <a:pt x="306" y="508"/>
                  </a:cubicBezTo>
                  <a:cubicBezTo>
                    <a:pt x="292" y="325"/>
                    <a:pt x="289" y="308"/>
                    <a:pt x="291" y="292"/>
                  </a:cubicBezTo>
                  <a:cubicBezTo>
                    <a:pt x="285" y="226"/>
                    <a:pt x="289" y="223"/>
                    <a:pt x="288" y="209"/>
                  </a:cubicBezTo>
                  <a:cubicBezTo>
                    <a:pt x="293" y="131"/>
                    <a:pt x="295" y="122"/>
                    <a:pt x="296" y="111"/>
                  </a:cubicBezTo>
                  <a:cubicBezTo>
                    <a:pt x="296" y="107"/>
                    <a:pt x="305" y="125"/>
                    <a:pt x="298" y="126"/>
                  </a:cubicBezTo>
                  <a:cubicBezTo>
                    <a:pt x="292" y="226"/>
                    <a:pt x="298" y="243"/>
                    <a:pt x="296" y="259"/>
                  </a:cubicBezTo>
                  <a:cubicBezTo>
                    <a:pt x="303" y="366"/>
                    <a:pt x="309" y="397"/>
                    <a:pt x="308" y="435"/>
                  </a:cubicBezTo>
                  <a:cubicBezTo>
                    <a:pt x="323" y="474"/>
                    <a:pt x="314" y="470"/>
                    <a:pt x="316" y="465"/>
                  </a:cubicBezTo>
                  <a:cubicBezTo>
                    <a:pt x="318" y="444"/>
                    <a:pt x="318" y="439"/>
                    <a:pt x="318" y="435"/>
                  </a:cubicBezTo>
                  <a:cubicBezTo>
                    <a:pt x="316" y="396"/>
                    <a:pt x="316" y="392"/>
                    <a:pt x="316" y="387"/>
                  </a:cubicBezTo>
                  <a:cubicBezTo>
                    <a:pt x="315" y="330"/>
                    <a:pt x="313" y="324"/>
                    <a:pt x="313" y="319"/>
                  </a:cubicBezTo>
                  <a:cubicBezTo>
                    <a:pt x="318" y="200"/>
                    <a:pt x="323" y="199"/>
                    <a:pt x="321" y="191"/>
                  </a:cubicBezTo>
                  <a:cubicBezTo>
                    <a:pt x="325" y="160"/>
                    <a:pt x="320" y="150"/>
                    <a:pt x="326" y="151"/>
                  </a:cubicBezTo>
                  <a:cubicBezTo>
                    <a:pt x="333" y="137"/>
                    <a:pt x="331" y="147"/>
                    <a:pt x="328" y="156"/>
                  </a:cubicBezTo>
                  <a:cubicBezTo>
                    <a:pt x="322" y="246"/>
                    <a:pt x="326" y="266"/>
                    <a:pt x="321" y="277"/>
                  </a:cubicBezTo>
                  <a:cubicBezTo>
                    <a:pt x="324" y="351"/>
                    <a:pt x="322" y="357"/>
                    <a:pt x="326" y="357"/>
                  </a:cubicBezTo>
                  <a:cubicBezTo>
                    <a:pt x="328" y="453"/>
                    <a:pt x="326" y="458"/>
                    <a:pt x="326" y="463"/>
                  </a:cubicBezTo>
                  <a:cubicBezTo>
                    <a:pt x="338" y="484"/>
                    <a:pt x="338" y="481"/>
                    <a:pt x="339" y="478"/>
                  </a:cubicBezTo>
                  <a:cubicBezTo>
                    <a:pt x="339" y="467"/>
                    <a:pt x="338" y="461"/>
                    <a:pt x="339" y="453"/>
                  </a:cubicBezTo>
                  <a:cubicBezTo>
                    <a:pt x="339" y="390"/>
                    <a:pt x="345" y="391"/>
                    <a:pt x="344" y="385"/>
                  </a:cubicBezTo>
                  <a:cubicBezTo>
                    <a:pt x="344" y="252"/>
                    <a:pt x="346" y="241"/>
                    <a:pt x="346" y="229"/>
                  </a:cubicBezTo>
                  <a:cubicBezTo>
                    <a:pt x="373" y="110"/>
                    <a:pt x="371" y="102"/>
                    <a:pt x="374" y="98"/>
                  </a:cubicBezTo>
                  <a:cubicBezTo>
                    <a:pt x="379" y="60"/>
                    <a:pt x="385" y="60"/>
                    <a:pt x="384" y="53"/>
                  </a:cubicBezTo>
                  <a:cubicBezTo>
                    <a:pt x="397" y="11"/>
                    <a:pt x="405" y="24"/>
                    <a:pt x="399" y="22"/>
                  </a:cubicBezTo>
                  <a:cubicBezTo>
                    <a:pt x="374" y="102"/>
                    <a:pt x="383" y="117"/>
                    <a:pt x="376" y="116"/>
                  </a:cubicBezTo>
                  <a:cubicBezTo>
                    <a:pt x="367" y="192"/>
                    <a:pt x="355" y="232"/>
                    <a:pt x="351" y="272"/>
                  </a:cubicBezTo>
                  <a:cubicBezTo>
                    <a:pt x="351" y="359"/>
                    <a:pt x="355" y="369"/>
                    <a:pt x="354" y="372"/>
                  </a:cubicBezTo>
                  <a:cubicBezTo>
                    <a:pt x="351" y="399"/>
                    <a:pt x="351" y="403"/>
                    <a:pt x="351" y="407"/>
                  </a:cubicBezTo>
                  <a:cubicBezTo>
                    <a:pt x="362" y="364"/>
                    <a:pt x="358" y="351"/>
                    <a:pt x="364" y="347"/>
                  </a:cubicBezTo>
                  <a:cubicBezTo>
                    <a:pt x="368" y="321"/>
                    <a:pt x="368" y="314"/>
                    <a:pt x="371" y="314"/>
                  </a:cubicBezTo>
                  <a:cubicBezTo>
                    <a:pt x="390" y="172"/>
                    <a:pt x="402" y="149"/>
                    <a:pt x="404" y="116"/>
                  </a:cubicBezTo>
                  <a:cubicBezTo>
                    <a:pt x="432" y="41"/>
                    <a:pt x="427" y="40"/>
                    <a:pt x="429" y="48"/>
                  </a:cubicBezTo>
                  <a:cubicBezTo>
                    <a:pt x="403" y="151"/>
                    <a:pt x="400" y="182"/>
                    <a:pt x="396" y="221"/>
                  </a:cubicBezTo>
                  <a:cubicBezTo>
                    <a:pt x="369" y="402"/>
                    <a:pt x="368" y="392"/>
                    <a:pt x="374" y="387"/>
                  </a:cubicBezTo>
                  <a:cubicBezTo>
                    <a:pt x="381" y="362"/>
                    <a:pt x="384" y="355"/>
                    <a:pt x="386" y="347"/>
                  </a:cubicBezTo>
                  <a:cubicBezTo>
                    <a:pt x="421" y="286"/>
                    <a:pt x="421" y="276"/>
                    <a:pt x="426" y="272"/>
                  </a:cubicBezTo>
                  <a:cubicBezTo>
                    <a:pt x="463" y="190"/>
                    <a:pt x="470" y="184"/>
                    <a:pt x="472" y="173"/>
                  </a:cubicBezTo>
                  <a:cubicBezTo>
                    <a:pt x="478" y="175"/>
                    <a:pt x="469" y="199"/>
                    <a:pt x="462" y="224"/>
                  </a:cubicBezTo>
                  <a:cubicBezTo>
                    <a:pt x="446" y="260"/>
                    <a:pt x="442" y="261"/>
                    <a:pt x="442" y="261"/>
                  </a:cubicBezTo>
                  <a:cubicBezTo>
                    <a:pt x="417" y="299"/>
                    <a:pt x="417" y="319"/>
                    <a:pt x="406" y="329"/>
                  </a:cubicBezTo>
                  <a:cubicBezTo>
                    <a:pt x="393" y="372"/>
                    <a:pt x="394" y="370"/>
                    <a:pt x="396" y="370"/>
                  </a:cubicBezTo>
                  <a:cubicBezTo>
                    <a:pt x="423" y="330"/>
                    <a:pt x="433" y="319"/>
                    <a:pt x="437" y="302"/>
                  </a:cubicBezTo>
                  <a:cubicBezTo>
                    <a:pt x="464" y="262"/>
                    <a:pt x="464" y="255"/>
                    <a:pt x="467" y="251"/>
                  </a:cubicBezTo>
                  <a:cubicBezTo>
                    <a:pt x="504" y="170"/>
                    <a:pt x="509" y="151"/>
                    <a:pt x="512" y="128"/>
                  </a:cubicBezTo>
                  <a:cubicBezTo>
                    <a:pt x="522" y="92"/>
                    <a:pt x="522" y="99"/>
                    <a:pt x="522" y="105"/>
                  </a:cubicBezTo>
                  <a:cubicBezTo>
                    <a:pt x="496" y="217"/>
                    <a:pt x="493" y="220"/>
                    <a:pt x="492" y="224"/>
                  </a:cubicBezTo>
                  <a:cubicBezTo>
                    <a:pt x="470" y="268"/>
                    <a:pt x="468" y="270"/>
                    <a:pt x="467" y="274"/>
                  </a:cubicBezTo>
                  <a:cubicBezTo>
                    <a:pt x="460" y="300"/>
                    <a:pt x="449" y="294"/>
                    <a:pt x="452" y="302"/>
                  </a:cubicBezTo>
                  <a:cubicBezTo>
                    <a:pt x="426" y="346"/>
                    <a:pt x="419" y="348"/>
                    <a:pt x="419" y="357"/>
                  </a:cubicBezTo>
                  <a:cubicBezTo>
                    <a:pt x="377" y="415"/>
                    <a:pt x="378" y="425"/>
                    <a:pt x="369" y="425"/>
                  </a:cubicBezTo>
                  <a:cubicBezTo>
                    <a:pt x="358" y="467"/>
                    <a:pt x="351" y="467"/>
                    <a:pt x="354" y="475"/>
                  </a:cubicBezTo>
                  <a:cubicBezTo>
                    <a:pt x="367" y="453"/>
                    <a:pt x="377" y="450"/>
                    <a:pt x="379" y="438"/>
                  </a:cubicBezTo>
                  <a:cubicBezTo>
                    <a:pt x="409" y="380"/>
                    <a:pt x="416" y="379"/>
                    <a:pt x="417" y="372"/>
                  </a:cubicBezTo>
                  <a:cubicBezTo>
                    <a:pt x="432" y="354"/>
                    <a:pt x="437" y="346"/>
                    <a:pt x="442" y="337"/>
                  </a:cubicBezTo>
                  <a:cubicBezTo>
                    <a:pt x="466" y="307"/>
                    <a:pt x="467" y="295"/>
                    <a:pt x="477" y="292"/>
                  </a:cubicBezTo>
                  <a:cubicBezTo>
                    <a:pt x="499" y="244"/>
                    <a:pt x="508" y="247"/>
                    <a:pt x="507" y="239"/>
                  </a:cubicBezTo>
                  <a:cubicBezTo>
                    <a:pt x="524" y="202"/>
                    <a:pt x="526" y="190"/>
                    <a:pt x="532" y="183"/>
                  </a:cubicBezTo>
                  <a:cubicBezTo>
                    <a:pt x="548" y="92"/>
                    <a:pt x="554" y="90"/>
                    <a:pt x="550" y="85"/>
                  </a:cubicBezTo>
                  <a:cubicBezTo>
                    <a:pt x="558" y="74"/>
                    <a:pt x="553" y="90"/>
                    <a:pt x="555" y="113"/>
                  </a:cubicBezTo>
                  <a:cubicBezTo>
                    <a:pt x="542" y="172"/>
                    <a:pt x="541" y="178"/>
                    <a:pt x="537" y="181"/>
                  </a:cubicBezTo>
                  <a:cubicBezTo>
                    <a:pt x="505" y="263"/>
                    <a:pt x="501" y="266"/>
                    <a:pt x="499" y="271"/>
                  </a:cubicBezTo>
                  <a:cubicBezTo>
                    <a:pt x="484" y="295"/>
                    <a:pt x="484" y="297"/>
                    <a:pt x="482" y="297"/>
                  </a:cubicBezTo>
                  <a:cubicBezTo>
                    <a:pt x="457" y="329"/>
                    <a:pt x="455" y="341"/>
                    <a:pt x="447" y="347"/>
                  </a:cubicBezTo>
                  <a:cubicBezTo>
                    <a:pt x="407" y="407"/>
                    <a:pt x="403" y="417"/>
                    <a:pt x="399" y="428"/>
                  </a:cubicBezTo>
                  <a:cubicBezTo>
                    <a:pt x="366" y="495"/>
                    <a:pt x="355" y="497"/>
                    <a:pt x="354" y="511"/>
                  </a:cubicBezTo>
                  <a:cubicBezTo>
                    <a:pt x="335" y="549"/>
                    <a:pt x="325" y="553"/>
                    <a:pt x="326" y="569"/>
                  </a:cubicBezTo>
                  <a:cubicBezTo>
                    <a:pt x="362" y="513"/>
                    <a:pt x="363" y="500"/>
                    <a:pt x="369" y="493"/>
                  </a:cubicBezTo>
                  <a:cubicBezTo>
                    <a:pt x="404" y="438"/>
                    <a:pt x="412" y="433"/>
                    <a:pt x="414" y="423"/>
                  </a:cubicBezTo>
                  <a:cubicBezTo>
                    <a:pt x="432" y="393"/>
                    <a:pt x="442" y="397"/>
                    <a:pt x="439" y="387"/>
                  </a:cubicBezTo>
                  <a:cubicBezTo>
                    <a:pt x="476" y="345"/>
                    <a:pt x="475" y="336"/>
                    <a:pt x="482" y="334"/>
                  </a:cubicBezTo>
                  <a:cubicBezTo>
                    <a:pt x="503" y="295"/>
                    <a:pt x="509" y="292"/>
                    <a:pt x="512" y="287"/>
                  </a:cubicBezTo>
                  <a:cubicBezTo>
                    <a:pt x="539" y="245"/>
                    <a:pt x="539" y="228"/>
                    <a:pt x="547" y="219"/>
                  </a:cubicBezTo>
                  <a:cubicBezTo>
                    <a:pt x="562" y="165"/>
                    <a:pt x="567" y="153"/>
                    <a:pt x="570" y="138"/>
                  </a:cubicBezTo>
                  <a:cubicBezTo>
                    <a:pt x="577" y="72"/>
                    <a:pt x="586" y="67"/>
                    <a:pt x="585" y="57"/>
                  </a:cubicBezTo>
                  <a:cubicBezTo>
                    <a:pt x="585" y="94"/>
                    <a:pt x="579" y="99"/>
                    <a:pt x="580" y="110"/>
                  </a:cubicBezTo>
                  <a:cubicBezTo>
                    <a:pt x="567" y="189"/>
                    <a:pt x="560" y="188"/>
                    <a:pt x="562" y="196"/>
                  </a:cubicBezTo>
                  <a:cubicBezTo>
                    <a:pt x="550" y="239"/>
                    <a:pt x="538" y="250"/>
                    <a:pt x="535" y="269"/>
                  </a:cubicBezTo>
                  <a:cubicBezTo>
                    <a:pt x="506" y="321"/>
                    <a:pt x="500" y="322"/>
                    <a:pt x="500" y="329"/>
                  </a:cubicBezTo>
                  <a:cubicBezTo>
                    <a:pt x="467" y="374"/>
                    <a:pt x="461" y="376"/>
                    <a:pt x="457" y="380"/>
                  </a:cubicBezTo>
                  <a:cubicBezTo>
                    <a:pt x="427" y="424"/>
                    <a:pt x="425" y="427"/>
                    <a:pt x="424" y="430"/>
                  </a:cubicBezTo>
                  <a:cubicBezTo>
                    <a:pt x="401" y="471"/>
                    <a:pt x="394" y="474"/>
                    <a:pt x="391" y="480"/>
                  </a:cubicBezTo>
                  <a:cubicBezTo>
                    <a:pt x="381" y="509"/>
                    <a:pt x="381" y="506"/>
                    <a:pt x="381" y="503"/>
                  </a:cubicBezTo>
                  <a:cubicBezTo>
                    <a:pt x="415" y="463"/>
                    <a:pt x="421" y="454"/>
                    <a:pt x="429" y="448"/>
                  </a:cubicBezTo>
                  <a:cubicBezTo>
                    <a:pt x="442" y="427"/>
                    <a:pt x="447" y="428"/>
                    <a:pt x="447" y="425"/>
                  </a:cubicBezTo>
                  <a:cubicBezTo>
                    <a:pt x="472" y="394"/>
                    <a:pt x="479" y="387"/>
                    <a:pt x="484" y="380"/>
                  </a:cubicBezTo>
                  <a:cubicBezTo>
                    <a:pt x="504" y="353"/>
                    <a:pt x="508" y="349"/>
                    <a:pt x="512" y="347"/>
                  </a:cubicBezTo>
                  <a:cubicBezTo>
                    <a:pt x="538" y="309"/>
                    <a:pt x="541" y="301"/>
                    <a:pt x="545" y="294"/>
                  </a:cubicBezTo>
                  <a:cubicBezTo>
                    <a:pt x="559" y="253"/>
                    <a:pt x="562" y="251"/>
                    <a:pt x="567" y="251"/>
                  </a:cubicBezTo>
                  <a:cubicBezTo>
                    <a:pt x="523" y="343"/>
                    <a:pt x="520" y="354"/>
                    <a:pt x="512" y="360"/>
                  </a:cubicBezTo>
                  <a:cubicBezTo>
                    <a:pt x="483" y="397"/>
                    <a:pt x="482" y="399"/>
                    <a:pt x="482" y="402"/>
                  </a:cubicBezTo>
                  <a:cubicBezTo>
                    <a:pt x="463" y="420"/>
                    <a:pt x="460" y="424"/>
                    <a:pt x="459" y="430"/>
                  </a:cubicBezTo>
                  <a:cubicBezTo>
                    <a:pt x="433" y="460"/>
                    <a:pt x="432" y="462"/>
                    <a:pt x="429" y="463"/>
                  </a:cubicBezTo>
                  <a:cubicBezTo>
                    <a:pt x="403" y="503"/>
                    <a:pt x="395" y="502"/>
                    <a:pt x="394" y="508"/>
                  </a:cubicBezTo>
                  <a:cubicBezTo>
                    <a:pt x="360" y="548"/>
                    <a:pt x="356" y="558"/>
                    <a:pt x="351" y="566"/>
                  </a:cubicBezTo>
                  <a:cubicBezTo>
                    <a:pt x="315" y="653"/>
                    <a:pt x="316" y="649"/>
                    <a:pt x="319" y="649"/>
                  </a:cubicBezTo>
                  <a:cubicBezTo>
                    <a:pt x="332" y="628"/>
                    <a:pt x="333" y="622"/>
                    <a:pt x="336" y="619"/>
                  </a:cubicBezTo>
                  <a:cubicBezTo>
                    <a:pt x="367" y="582"/>
                    <a:pt x="371" y="575"/>
                    <a:pt x="376" y="568"/>
                  </a:cubicBezTo>
                  <a:cubicBezTo>
                    <a:pt x="394" y="542"/>
                    <a:pt x="402" y="543"/>
                    <a:pt x="402" y="536"/>
                  </a:cubicBezTo>
                  <a:cubicBezTo>
                    <a:pt x="438" y="505"/>
                    <a:pt x="438" y="494"/>
                    <a:pt x="447" y="490"/>
                  </a:cubicBezTo>
                  <a:cubicBezTo>
                    <a:pt x="471" y="464"/>
                    <a:pt x="471" y="452"/>
                    <a:pt x="479" y="448"/>
                  </a:cubicBezTo>
                  <a:cubicBezTo>
                    <a:pt x="500" y="419"/>
                    <a:pt x="504" y="411"/>
                    <a:pt x="510" y="405"/>
                  </a:cubicBezTo>
                  <a:cubicBezTo>
                    <a:pt x="544" y="340"/>
                    <a:pt x="544" y="334"/>
                    <a:pt x="547" y="332"/>
                  </a:cubicBezTo>
                  <a:cubicBezTo>
                    <a:pt x="576" y="260"/>
                    <a:pt x="573" y="249"/>
                    <a:pt x="577" y="244"/>
                  </a:cubicBezTo>
                  <a:cubicBezTo>
                    <a:pt x="586" y="197"/>
                    <a:pt x="588" y="164"/>
                    <a:pt x="595" y="135"/>
                  </a:cubicBezTo>
                  <a:cubicBezTo>
                    <a:pt x="594" y="196"/>
                    <a:pt x="589" y="206"/>
                    <a:pt x="590" y="224"/>
                  </a:cubicBezTo>
                  <a:cubicBezTo>
                    <a:pt x="572" y="286"/>
                    <a:pt x="575" y="297"/>
                    <a:pt x="570" y="299"/>
                  </a:cubicBezTo>
                  <a:cubicBezTo>
                    <a:pt x="537" y="378"/>
                    <a:pt x="533" y="389"/>
                    <a:pt x="525" y="397"/>
                  </a:cubicBezTo>
                  <a:cubicBezTo>
                    <a:pt x="506" y="431"/>
                    <a:pt x="503" y="431"/>
                    <a:pt x="502" y="435"/>
                  </a:cubicBezTo>
                  <a:cubicBezTo>
                    <a:pt x="485" y="464"/>
                    <a:pt x="476" y="464"/>
                    <a:pt x="477" y="473"/>
                  </a:cubicBezTo>
                  <a:cubicBezTo>
                    <a:pt x="452" y="503"/>
                    <a:pt x="446" y="505"/>
                    <a:pt x="442" y="508"/>
                  </a:cubicBezTo>
                  <a:cubicBezTo>
                    <a:pt x="424" y="523"/>
                    <a:pt x="427" y="534"/>
                    <a:pt x="419" y="533"/>
                  </a:cubicBezTo>
                  <a:cubicBezTo>
                    <a:pt x="337" y="645"/>
                    <a:pt x="338" y="641"/>
                    <a:pt x="341" y="641"/>
                  </a:cubicBezTo>
                  <a:cubicBezTo>
                    <a:pt x="357" y="630"/>
                    <a:pt x="354" y="622"/>
                    <a:pt x="359" y="621"/>
                  </a:cubicBezTo>
                  <a:cubicBezTo>
                    <a:pt x="419" y="562"/>
                    <a:pt x="442" y="543"/>
                    <a:pt x="459" y="518"/>
                  </a:cubicBezTo>
                  <a:cubicBezTo>
                    <a:pt x="475" y="496"/>
                    <a:pt x="482" y="498"/>
                    <a:pt x="482" y="493"/>
                  </a:cubicBezTo>
                  <a:cubicBezTo>
                    <a:pt x="501" y="474"/>
                    <a:pt x="503" y="471"/>
                    <a:pt x="505" y="468"/>
                  </a:cubicBezTo>
                  <a:cubicBezTo>
                    <a:pt x="547" y="407"/>
                    <a:pt x="552" y="402"/>
                    <a:pt x="557" y="397"/>
                  </a:cubicBezTo>
                  <a:cubicBezTo>
                    <a:pt x="585" y="334"/>
                    <a:pt x="592" y="336"/>
                    <a:pt x="590" y="329"/>
                  </a:cubicBezTo>
                  <a:cubicBezTo>
                    <a:pt x="604" y="294"/>
                    <a:pt x="606" y="286"/>
                    <a:pt x="610" y="281"/>
                  </a:cubicBezTo>
                  <a:cubicBezTo>
                    <a:pt x="629" y="217"/>
                    <a:pt x="627" y="222"/>
                    <a:pt x="628" y="226"/>
                  </a:cubicBezTo>
                  <a:cubicBezTo>
                    <a:pt x="614" y="259"/>
                    <a:pt x="624" y="266"/>
                    <a:pt x="618" y="269"/>
                  </a:cubicBezTo>
                  <a:cubicBezTo>
                    <a:pt x="600" y="334"/>
                    <a:pt x="592" y="341"/>
                    <a:pt x="590" y="354"/>
                  </a:cubicBezTo>
                  <a:cubicBezTo>
                    <a:pt x="569" y="389"/>
                    <a:pt x="569" y="396"/>
                    <a:pt x="565" y="400"/>
                  </a:cubicBezTo>
                  <a:cubicBezTo>
                    <a:pt x="539" y="449"/>
                    <a:pt x="528" y="446"/>
                    <a:pt x="530" y="455"/>
                  </a:cubicBezTo>
                  <a:cubicBezTo>
                    <a:pt x="494" y="498"/>
                    <a:pt x="491" y="501"/>
                    <a:pt x="487" y="505"/>
                  </a:cubicBezTo>
                  <a:cubicBezTo>
                    <a:pt x="467" y="523"/>
                    <a:pt x="465" y="536"/>
                    <a:pt x="454" y="541"/>
                  </a:cubicBezTo>
                  <a:cubicBezTo>
                    <a:pt x="435" y="560"/>
                    <a:pt x="434" y="562"/>
                    <a:pt x="434" y="566"/>
                  </a:cubicBezTo>
                  <a:cubicBezTo>
                    <a:pt x="409" y="593"/>
                    <a:pt x="397" y="589"/>
                    <a:pt x="399" y="599"/>
                  </a:cubicBezTo>
                  <a:cubicBezTo>
                    <a:pt x="371" y="623"/>
                    <a:pt x="367" y="627"/>
                    <a:pt x="364" y="631"/>
                  </a:cubicBezTo>
                  <a:cubicBezTo>
                    <a:pt x="347" y="653"/>
                    <a:pt x="344" y="654"/>
                    <a:pt x="341" y="654"/>
                  </a:cubicBezTo>
                  <a:cubicBezTo>
                    <a:pt x="306" y="715"/>
                    <a:pt x="304" y="720"/>
                    <a:pt x="301" y="722"/>
                  </a:cubicBezTo>
                  <a:cubicBezTo>
                    <a:pt x="296" y="747"/>
                    <a:pt x="297" y="745"/>
                    <a:pt x="299" y="745"/>
                  </a:cubicBezTo>
                  <a:cubicBezTo>
                    <a:pt x="318" y="708"/>
                    <a:pt x="325" y="704"/>
                    <a:pt x="329" y="697"/>
                  </a:cubicBezTo>
                  <a:cubicBezTo>
                    <a:pt x="354" y="669"/>
                    <a:pt x="351" y="661"/>
                    <a:pt x="356" y="662"/>
                  </a:cubicBezTo>
                  <a:cubicBezTo>
                    <a:pt x="380" y="634"/>
                    <a:pt x="389" y="622"/>
                    <a:pt x="399" y="611"/>
                  </a:cubicBezTo>
                  <a:cubicBezTo>
                    <a:pt x="461" y="555"/>
                    <a:pt x="469" y="552"/>
                    <a:pt x="472" y="543"/>
                  </a:cubicBezTo>
                  <a:cubicBezTo>
                    <a:pt x="512" y="507"/>
                    <a:pt x="513" y="503"/>
                    <a:pt x="520" y="503"/>
                  </a:cubicBezTo>
                  <a:cubicBezTo>
                    <a:pt x="550" y="469"/>
                    <a:pt x="557" y="461"/>
                    <a:pt x="565" y="455"/>
                  </a:cubicBezTo>
                  <a:cubicBezTo>
                    <a:pt x="598" y="394"/>
                    <a:pt x="603" y="386"/>
                    <a:pt x="610" y="380"/>
                  </a:cubicBezTo>
                  <a:cubicBezTo>
                    <a:pt x="617" y="354"/>
                    <a:pt x="618" y="350"/>
                    <a:pt x="623" y="349"/>
                  </a:cubicBezTo>
                  <a:cubicBezTo>
                    <a:pt x="643" y="301"/>
                    <a:pt x="640" y="315"/>
                    <a:pt x="638" y="317"/>
                  </a:cubicBezTo>
                  <a:cubicBezTo>
                    <a:pt x="614" y="376"/>
                    <a:pt x="614" y="391"/>
                    <a:pt x="605" y="397"/>
                  </a:cubicBezTo>
                  <a:cubicBezTo>
                    <a:pt x="571" y="455"/>
                    <a:pt x="568" y="462"/>
                    <a:pt x="565" y="470"/>
                  </a:cubicBezTo>
                  <a:cubicBezTo>
                    <a:pt x="543" y="489"/>
                    <a:pt x="545" y="498"/>
                    <a:pt x="537" y="495"/>
                  </a:cubicBezTo>
                  <a:cubicBezTo>
                    <a:pt x="520" y="516"/>
                    <a:pt x="516" y="518"/>
                    <a:pt x="512" y="521"/>
                  </a:cubicBezTo>
                  <a:cubicBezTo>
                    <a:pt x="488" y="541"/>
                    <a:pt x="485" y="549"/>
                    <a:pt x="477" y="553"/>
                  </a:cubicBezTo>
                  <a:cubicBezTo>
                    <a:pt x="451" y="584"/>
                    <a:pt x="445" y="583"/>
                    <a:pt x="444" y="589"/>
                  </a:cubicBezTo>
                  <a:cubicBezTo>
                    <a:pt x="416" y="615"/>
                    <a:pt x="402" y="624"/>
                    <a:pt x="392" y="636"/>
                  </a:cubicBezTo>
                  <a:cubicBezTo>
                    <a:pt x="369" y="660"/>
                    <a:pt x="366" y="668"/>
                    <a:pt x="359" y="672"/>
                  </a:cubicBezTo>
                  <a:cubicBezTo>
                    <a:pt x="326" y="726"/>
                    <a:pt x="315" y="734"/>
                    <a:pt x="309" y="747"/>
                  </a:cubicBezTo>
                  <a:cubicBezTo>
                    <a:pt x="299" y="770"/>
                    <a:pt x="301" y="766"/>
                    <a:pt x="304" y="762"/>
                  </a:cubicBezTo>
                  <a:cubicBezTo>
                    <a:pt x="323" y="737"/>
                    <a:pt x="326" y="734"/>
                    <a:pt x="329" y="730"/>
                  </a:cubicBezTo>
                  <a:cubicBezTo>
                    <a:pt x="353" y="695"/>
                    <a:pt x="356" y="695"/>
                    <a:pt x="359" y="694"/>
                  </a:cubicBezTo>
                  <a:cubicBezTo>
                    <a:pt x="373" y="674"/>
                    <a:pt x="377" y="671"/>
                    <a:pt x="379" y="667"/>
                  </a:cubicBezTo>
                  <a:cubicBezTo>
                    <a:pt x="427" y="618"/>
                    <a:pt x="427" y="612"/>
                    <a:pt x="432" y="611"/>
                  </a:cubicBezTo>
                  <a:cubicBezTo>
                    <a:pt x="465" y="583"/>
                    <a:pt x="468" y="575"/>
                    <a:pt x="477" y="573"/>
                  </a:cubicBezTo>
                  <a:cubicBezTo>
                    <a:pt x="532" y="525"/>
                    <a:pt x="537" y="523"/>
                    <a:pt x="540" y="521"/>
                  </a:cubicBezTo>
                  <a:cubicBezTo>
                    <a:pt x="572" y="493"/>
                    <a:pt x="577" y="488"/>
                    <a:pt x="583" y="483"/>
                  </a:cubicBezTo>
                  <a:cubicBezTo>
                    <a:pt x="603" y="467"/>
                    <a:pt x="601" y="462"/>
                    <a:pt x="603" y="460"/>
                  </a:cubicBezTo>
                  <a:cubicBezTo>
                    <a:pt x="640" y="421"/>
                    <a:pt x="644" y="403"/>
                    <a:pt x="656" y="392"/>
                  </a:cubicBezTo>
                  <a:cubicBezTo>
                    <a:pt x="677" y="336"/>
                    <a:pt x="684" y="332"/>
                    <a:pt x="686" y="322"/>
                  </a:cubicBezTo>
                  <a:cubicBezTo>
                    <a:pt x="694" y="312"/>
                    <a:pt x="693" y="316"/>
                    <a:pt x="691" y="319"/>
                  </a:cubicBezTo>
                  <a:cubicBezTo>
                    <a:pt x="672" y="371"/>
                    <a:pt x="672" y="380"/>
                    <a:pt x="666" y="385"/>
                  </a:cubicBezTo>
                  <a:cubicBezTo>
                    <a:pt x="638" y="427"/>
                    <a:pt x="637" y="437"/>
                    <a:pt x="630" y="440"/>
                  </a:cubicBezTo>
                  <a:cubicBezTo>
                    <a:pt x="614" y="466"/>
                    <a:pt x="617" y="473"/>
                    <a:pt x="613" y="473"/>
                  </a:cubicBezTo>
                  <a:cubicBezTo>
                    <a:pt x="599" y="501"/>
                    <a:pt x="588" y="506"/>
                    <a:pt x="585" y="521"/>
                  </a:cubicBezTo>
                  <a:cubicBezTo>
                    <a:pt x="536" y="580"/>
                    <a:pt x="527" y="580"/>
                    <a:pt x="527" y="589"/>
                  </a:cubicBezTo>
                  <a:cubicBezTo>
                    <a:pt x="498" y="618"/>
                    <a:pt x="489" y="617"/>
                    <a:pt x="490" y="626"/>
                  </a:cubicBezTo>
                  <a:cubicBezTo>
                    <a:pt x="455" y="659"/>
                    <a:pt x="447" y="668"/>
                    <a:pt x="437" y="674"/>
                  </a:cubicBezTo>
                  <a:cubicBezTo>
                    <a:pt x="408" y="701"/>
                    <a:pt x="406" y="706"/>
                    <a:pt x="404" y="709"/>
                  </a:cubicBezTo>
                  <a:cubicBezTo>
                    <a:pt x="384" y="728"/>
                    <a:pt x="380" y="730"/>
                    <a:pt x="377" y="732"/>
                  </a:cubicBezTo>
                  <a:cubicBezTo>
                    <a:pt x="365" y="749"/>
                    <a:pt x="359" y="754"/>
                    <a:pt x="354" y="760"/>
                  </a:cubicBezTo>
                  <a:cubicBezTo>
                    <a:pt x="309" y="824"/>
                    <a:pt x="309" y="830"/>
                    <a:pt x="304" y="830"/>
                  </a:cubicBezTo>
                  <a:cubicBezTo>
                    <a:pt x="289" y="858"/>
                    <a:pt x="285" y="858"/>
                    <a:pt x="286" y="863"/>
                  </a:cubicBezTo>
                  <a:cubicBezTo>
                    <a:pt x="270" y="881"/>
                    <a:pt x="270" y="888"/>
                    <a:pt x="266" y="891"/>
                  </a:cubicBezTo>
                  <a:cubicBezTo>
                    <a:pt x="252" y="942"/>
                    <a:pt x="260" y="953"/>
                    <a:pt x="253" y="961"/>
                  </a:cubicBezTo>
                  <a:cubicBezTo>
                    <a:pt x="275" y="924"/>
                    <a:pt x="276" y="916"/>
                    <a:pt x="281" y="913"/>
                  </a:cubicBezTo>
                  <a:cubicBezTo>
                    <a:pt x="296" y="889"/>
                    <a:pt x="296" y="885"/>
                    <a:pt x="296" y="881"/>
                  </a:cubicBezTo>
                  <a:cubicBezTo>
                    <a:pt x="328" y="826"/>
                    <a:pt x="337" y="820"/>
                    <a:pt x="341" y="808"/>
                  </a:cubicBezTo>
                  <a:cubicBezTo>
                    <a:pt x="391" y="746"/>
                    <a:pt x="402" y="741"/>
                    <a:pt x="407" y="730"/>
                  </a:cubicBezTo>
                  <a:cubicBezTo>
                    <a:pt x="466" y="676"/>
                    <a:pt x="464" y="669"/>
                    <a:pt x="472" y="672"/>
                  </a:cubicBezTo>
                  <a:cubicBezTo>
                    <a:pt x="497" y="651"/>
                    <a:pt x="495" y="644"/>
                    <a:pt x="500" y="644"/>
                  </a:cubicBezTo>
                  <a:cubicBezTo>
                    <a:pt x="524" y="614"/>
                    <a:pt x="532" y="607"/>
                    <a:pt x="540" y="599"/>
                  </a:cubicBezTo>
                  <a:cubicBezTo>
                    <a:pt x="560" y="577"/>
                    <a:pt x="562" y="575"/>
                    <a:pt x="563" y="578"/>
                  </a:cubicBezTo>
                  <a:cubicBezTo>
                    <a:pt x="532" y="621"/>
                    <a:pt x="526" y="621"/>
                    <a:pt x="525" y="626"/>
                  </a:cubicBezTo>
                  <a:cubicBezTo>
                    <a:pt x="515" y="645"/>
                    <a:pt x="502" y="643"/>
                    <a:pt x="502" y="654"/>
                  </a:cubicBezTo>
                  <a:cubicBezTo>
                    <a:pt x="477" y="678"/>
                    <a:pt x="473" y="681"/>
                    <a:pt x="467" y="682"/>
                  </a:cubicBezTo>
                  <a:cubicBezTo>
                    <a:pt x="440" y="699"/>
                    <a:pt x="454" y="709"/>
                    <a:pt x="442" y="707"/>
                  </a:cubicBezTo>
                  <a:cubicBezTo>
                    <a:pt x="411" y="729"/>
                    <a:pt x="426" y="737"/>
                    <a:pt x="417" y="737"/>
                  </a:cubicBezTo>
                  <a:cubicBezTo>
                    <a:pt x="405" y="760"/>
                    <a:pt x="394" y="754"/>
                    <a:pt x="397" y="762"/>
                  </a:cubicBezTo>
                  <a:cubicBezTo>
                    <a:pt x="340" y="837"/>
                    <a:pt x="330" y="837"/>
                    <a:pt x="331" y="848"/>
                  </a:cubicBezTo>
                  <a:cubicBezTo>
                    <a:pt x="298" y="899"/>
                    <a:pt x="301" y="909"/>
                    <a:pt x="294" y="911"/>
                  </a:cubicBezTo>
                  <a:cubicBezTo>
                    <a:pt x="276" y="946"/>
                    <a:pt x="271" y="948"/>
                    <a:pt x="271" y="956"/>
                  </a:cubicBezTo>
                  <a:cubicBezTo>
                    <a:pt x="289" y="939"/>
                    <a:pt x="287" y="927"/>
                    <a:pt x="294" y="923"/>
                  </a:cubicBezTo>
                  <a:cubicBezTo>
                    <a:pt x="324" y="876"/>
                    <a:pt x="325" y="872"/>
                    <a:pt x="329" y="871"/>
                  </a:cubicBezTo>
                  <a:cubicBezTo>
                    <a:pt x="345" y="847"/>
                    <a:pt x="350" y="842"/>
                    <a:pt x="351" y="833"/>
                  </a:cubicBezTo>
                  <a:cubicBezTo>
                    <a:pt x="391" y="775"/>
                    <a:pt x="403" y="777"/>
                    <a:pt x="404" y="767"/>
                  </a:cubicBezTo>
                  <a:cubicBezTo>
                    <a:pt x="425" y="740"/>
                    <a:pt x="432" y="742"/>
                    <a:pt x="434" y="740"/>
                  </a:cubicBezTo>
                  <a:cubicBezTo>
                    <a:pt x="450" y="719"/>
                    <a:pt x="452" y="717"/>
                    <a:pt x="455" y="714"/>
                  </a:cubicBezTo>
                  <a:cubicBezTo>
                    <a:pt x="479" y="688"/>
                    <a:pt x="486" y="686"/>
                    <a:pt x="490" y="682"/>
                  </a:cubicBezTo>
                  <a:cubicBezTo>
                    <a:pt x="517" y="654"/>
                    <a:pt x="523" y="652"/>
                    <a:pt x="525" y="646"/>
                  </a:cubicBezTo>
                  <a:cubicBezTo>
                    <a:pt x="547" y="627"/>
                    <a:pt x="547" y="624"/>
                    <a:pt x="548" y="621"/>
                  </a:cubicBezTo>
                  <a:cubicBezTo>
                    <a:pt x="574" y="586"/>
                    <a:pt x="584" y="581"/>
                    <a:pt x="588" y="571"/>
                  </a:cubicBezTo>
                  <a:cubicBezTo>
                    <a:pt x="602" y="554"/>
                    <a:pt x="603" y="558"/>
                    <a:pt x="603" y="561"/>
                  </a:cubicBezTo>
                  <a:cubicBezTo>
                    <a:pt x="564" y="608"/>
                    <a:pt x="562" y="624"/>
                    <a:pt x="553" y="631"/>
                  </a:cubicBezTo>
                  <a:cubicBezTo>
                    <a:pt x="533" y="653"/>
                    <a:pt x="531" y="655"/>
                    <a:pt x="527" y="656"/>
                  </a:cubicBezTo>
                  <a:cubicBezTo>
                    <a:pt x="489" y="688"/>
                    <a:pt x="491" y="694"/>
                    <a:pt x="487" y="694"/>
                  </a:cubicBezTo>
                  <a:cubicBezTo>
                    <a:pt x="459" y="725"/>
                    <a:pt x="455" y="729"/>
                    <a:pt x="450" y="732"/>
                  </a:cubicBezTo>
                  <a:cubicBezTo>
                    <a:pt x="414" y="777"/>
                    <a:pt x="409" y="779"/>
                    <a:pt x="404" y="782"/>
                  </a:cubicBezTo>
                  <a:cubicBezTo>
                    <a:pt x="368" y="827"/>
                    <a:pt x="367" y="833"/>
                    <a:pt x="364" y="838"/>
                  </a:cubicBezTo>
                  <a:cubicBezTo>
                    <a:pt x="347" y="861"/>
                    <a:pt x="347" y="865"/>
                    <a:pt x="344" y="865"/>
                  </a:cubicBezTo>
                  <a:cubicBezTo>
                    <a:pt x="316" y="902"/>
                    <a:pt x="318" y="908"/>
                    <a:pt x="314" y="908"/>
                  </a:cubicBezTo>
                  <a:cubicBezTo>
                    <a:pt x="297" y="944"/>
                    <a:pt x="292" y="947"/>
                    <a:pt x="289" y="951"/>
                  </a:cubicBezTo>
                  <a:cubicBezTo>
                    <a:pt x="272" y="991"/>
                    <a:pt x="265" y="999"/>
                    <a:pt x="264" y="1012"/>
                  </a:cubicBezTo>
                  <a:cubicBezTo>
                    <a:pt x="246" y="1070"/>
                    <a:pt x="247" y="1080"/>
                    <a:pt x="243" y="1084"/>
                  </a:cubicBezTo>
                  <a:cubicBezTo>
                    <a:pt x="275" y="1031"/>
                    <a:pt x="275" y="1019"/>
                    <a:pt x="281" y="1014"/>
                  </a:cubicBezTo>
                  <a:cubicBezTo>
                    <a:pt x="300" y="980"/>
                    <a:pt x="306" y="968"/>
                    <a:pt x="311" y="956"/>
                  </a:cubicBezTo>
                  <a:cubicBezTo>
                    <a:pt x="329" y="925"/>
                    <a:pt x="336" y="929"/>
                    <a:pt x="334" y="921"/>
                  </a:cubicBezTo>
                  <a:cubicBezTo>
                    <a:pt x="370" y="883"/>
                    <a:pt x="367" y="872"/>
                    <a:pt x="377" y="873"/>
                  </a:cubicBezTo>
                  <a:cubicBezTo>
                    <a:pt x="395" y="849"/>
                    <a:pt x="404" y="842"/>
                    <a:pt x="412" y="833"/>
                  </a:cubicBezTo>
                  <a:cubicBezTo>
                    <a:pt x="432" y="811"/>
                    <a:pt x="434" y="810"/>
                    <a:pt x="434" y="808"/>
                  </a:cubicBezTo>
                  <a:cubicBezTo>
                    <a:pt x="468" y="774"/>
                    <a:pt x="473" y="764"/>
                    <a:pt x="482" y="757"/>
                  </a:cubicBezTo>
                  <a:cubicBezTo>
                    <a:pt x="518" y="710"/>
                    <a:pt x="527" y="711"/>
                    <a:pt x="525" y="702"/>
                  </a:cubicBezTo>
                  <a:cubicBezTo>
                    <a:pt x="512" y="725"/>
                    <a:pt x="513" y="729"/>
                    <a:pt x="512" y="732"/>
                  </a:cubicBezTo>
                  <a:cubicBezTo>
                    <a:pt x="497" y="756"/>
                    <a:pt x="486" y="759"/>
                    <a:pt x="482" y="767"/>
                  </a:cubicBezTo>
                  <a:cubicBezTo>
                    <a:pt x="463" y="791"/>
                    <a:pt x="457" y="793"/>
                    <a:pt x="452" y="795"/>
                  </a:cubicBezTo>
                  <a:cubicBezTo>
                    <a:pt x="362" y="908"/>
                    <a:pt x="358" y="911"/>
                    <a:pt x="354" y="913"/>
                  </a:cubicBezTo>
                  <a:cubicBezTo>
                    <a:pt x="338" y="944"/>
                    <a:pt x="330" y="941"/>
                    <a:pt x="331" y="948"/>
                  </a:cubicBezTo>
                  <a:cubicBezTo>
                    <a:pt x="305" y="988"/>
                    <a:pt x="305" y="994"/>
                    <a:pt x="301" y="996"/>
                  </a:cubicBezTo>
                  <a:cubicBezTo>
                    <a:pt x="313" y="984"/>
                    <a:pt x="317" y="981"/>
                    <a:pt x="319" y="976"/>
                  </a:cubicBezTo>
                  <a:cubicBezTo>
                    <a:pt x="362" y="938"/>
                    <a:pt x="357" y="928"/>
                    <a:pt x="364" y="928"/>
                  </a:cubicBezTo>
                  <a:cubicBezTo>
                    <a:pt x="379" y="903"/>
                    <a:pt x="390" y="907"/>
                    <a:pt x="389" y="901"/>
                  </a:cubicBezTo>
                  <a:cubicBezTo>
                    <a:pt x="416" y="869"/>
                    <a:pt x="427" y="873"/>
                    <a:pt x="424" y="865"/>
                  </a:cubicBezTo>
                  <a:cubicBezTo>
                    <a:pt x="450" y="844"/>
                    <a:pt x="454" y="836"/>
                    <a:pt x="462" y="833"/>
                  </a:cubicBezTo>
                  <a:cubicBezTo>
                    <a:pt x="510" y="785"/>
                    <a:pt x="513" y="782"/>
                    <a:pt x="515" y="780"/>
                  </a:cubicBezTo>
                  <a:cubicBezTo>
                    <a:pt x="536" y="752"/>
                    <a:pt x="545" y="755"/>
                    <a:pt x="543" y="747"/>
                  </a:cubicBezTo>
                  <a:cubicBezTo>
                    <a:pt x="566" y="714"/>
                    <a:pt x="568" y="710"/>
                    <a:pt x="570" y="707"/>
                  </a:cubicBezTo>
                  <a:cubicBezTo>
                    <a:pt x="591" y="657"/>
                    <a:pt x="601" y="647"/>
                    <a:pt x="605" y="631"/>
                  </a:cubicBezTo>
                  <a:cubicBezTo>
                    <a:pt x="597" y="662"/>
                    <a:pt x="596" y="668"/>
                    <a:pt x="595" y="674"/>
                  </a:cubicBezTo>
                  <a:cubicBezTo>
                    <a:pt x="577" y="704"/>
                    <a:pt x="573" y="716"/>
                    <a:pt x="568" y="727"/>
                  </a:cubicBezTo>
                  <a:cubicBezTo>
                    <a:pt x="537" y="772"/>
                    <a:pt x="532" y="774"/>
                    <a:pt x="528" y="777"/>
                  </a:cubicBezTo>
                  <a:cubicBezTo>
                    <a:pt x="516" y="796"/>
                    <a:pt x="509" y="797"/>
                    <a:pt x="507" y="802"/>
                  </a:cubicBezTo>
                  <a:cubicBezTo>
                    <a:pt x="475" y="834"/>
                    <a:pt x="473" y="835"/>
                    <a:pt x="472" y="838"/>
                  </a:cubicBezTo>
                  <a:cubicBezTo>
                    <a:pt x="458" y="853"/>
                    <a:pt x="452" y="855"/>
                    <a:pt x="447" y="858"/>
                  </a:cubicBezTo>
                  <a:cubicBezTo>
                    <a:pt x="430" y="871"/>
                    <a:pt x="434" y="882"/>
                    <a:pt x="424" y="881"/>
                  </a:cubicBezTo>
                  <a:cubicBezTo>
                    <a:pt x="388" y="922"/>
                    <a:pt x="381" y="923"/>
                    <a:pt x="379" y="928"/>
                  </a:cubicBezTo>
                  <a:cubicBezTo>
                    <a:pt x="356" y="958"/>
                    <a:pt x="346" y="955"/>
                    <a:pt x="347" y="964"/>
                  </a:cubicBezTo>
                  <a:cubicBezTo>
                    <a:pt x="311" y="1003"/>
                    <a:pt x="313" y="1013"/>
                    <a:pt x="306" y="1014"/>
                  </a:cubicBezTo>
                  <a:cubicBezTo>
                    <a:pt x="282" y="1051"/>
                    <a:pt x="281" y="1054"/>
                    <a:pt x="281" y="1057"/>
                  </a:cubicBezTo>
                  <a:cubicBezTo>
                    <a:pt x="263" y="1076"/>
                    <a:pt x="266" y="1095"/>
                    <a:pt x="256" y="1100"/>
                  </a:cubicBezTo>
                  <a:cubicBezTo>
                    <a:pt x="251" y="1150"/>
                    <a:pt x="250" y="1138"/>
                    <a:pt x="256" y="1135"/>
                  </a:cubicBezTo>
                  <a:cubicBezTo>
                    <a:pt x="289" y="1070"/>
                    <a:pt x="297" y="1067"/>
                    <a:pt x="299" y="1059"/>
                  </a:cubicBezTo>
                  <a:cubicBezTo>
                    <a:pt x="316" y="1029"/>
                    <a:pt x="323" y="1031"/>
                    <a:pt x="321" y="1024"/>
                  </a:cubicBezTo>
                  <a:cubicBezTo>
                    <a:pt x="338" y="1004"/>
                    <a:pt x="340" y="996"/>
                    <a:pt x="344" y="991"/>
                  </a:cubicBezTo>
                  <a:cubicBezTo>
                    <a:pt x="361" y="971"/>
                    <a:pt x="363" y="965"/>
                    <a:pt x="369" y="961"/>
                  </a:cubicBezTo>
                  <a:cubicBezTo>
                    <a:pt x="436" y="888"/>
                    <a:pt x="448" y="891"/>
                    <a:pt x="447" y="880"/>
                  </a:cubicBezTo>
                  <a:cubicBezTo>
                    <a:pt x="469" y="858"/>
                    <a:pt x="474" y="859"/>
                    <a:pt x="475" y="855"/>
                  </a:cubicBezTo>
                  <a:cubicBezTo>
                    <a:pt x="505" y="824"/>
                    <a:pt x="511" y="822"/>
                    <a:pt x="512" y="815"/>
                  </a:cubicBezTo>
                  <a:cubicBezTo>
                    <a:pt x="568" y="753"/>
                    <a:pt x="565" y="741"/>
                    <a:pt x="573" y="739"/>
                  </a:cubicBezTo>
                  <a:cubicBezTo>
                    <a:pt x="584" y="730"/>
                    <a:pt x="582" y="734"/>
                    <a:pt x="580" y="737"/>
                  </a:cubicBezTo>
                  <a:cubicBezTo>
                    <a:pt x="561" y="775"/>
                    <a:pt x="553" y="785"/>
                    <a:pt x="545" y="795"/>
                  </a:cubicBezTo>
                  <a:cubicBezTo>
                    <a:pt x="516" y="828"/>
                    <a:pt x="510" y="830"/>
                    <a:pt x="507" y="838"/>
                  </a:cubicBezTo>
                  <a:cubicBezTo>
                    <a:pt x="443" y="909"/>
                    <a:pt x="435" y="906"/>
                    <a:pt x="435" y="911"/>
                  </a:cubicBezTo>
                  <a:cubicBezTo>
                    <a:pt x="419" y="924"/>
                    <a:pt x="417" y="927"/>
                    <a:pt x="417" y="931"/>
                  </a:cubicBezTo>
                  <a:cubicBezTo>
                    <a:pt x="381" y="966"/>
                    <a:pt x="371" y="974"/>
                    <a:pt x="364" y="986"/>
                  </a:cubicBezTo>
                  <a:cubicBezTo>
                    <a:pt x="347" y="1005"/>
                    <a:pt x="346" y="1013"/>
                    <a:pt x="339" y="1014"/>
                  </a:cubicBezTo>
                  <a:cubicBezTo>
                    <a:pt x="294" y="1085"/>
                    <a:pt x="293" y="1095"/>
                    <a:pt x="286" y="1100"/>
                  </a:cubicBezTo>
                  <a:cubicBezTo>
                    <a:pt x="259" y="1148"/>
                    <a:pt x="259" y="1154"/>
                    <a:pt x="256" y="1157"/>
                  </a:cubicBezTo>
                  <a:cubicBezTo>
                    <a:pt x="241" y="1199"/>
                    <a:pt x="246" y="1208"/>
                    <a:pt x="241" y="1218"/>
                  </a:cubicBezTo>
                  <a:cubicBezTo>
                    <a:pt x="260" y="1178"/>
                    <a:pt x="260" y="1172"/>
                    <a:pt x="264" y="1170"/>
                  </a:cubicBezTo>
                  <a:cubicBezTo>
                    <a:pt x="290" y="1114"/>
                    <a:pt x="297" y="1109"/>
                    <a:pt x="301" y="1102"/>
                  </a:cubicBezTo>
                  <a:cubicBezTo>
                    <a:pt x="336" y="1056"/>
                    <a:pt x="339" y="1048"/>
                    <a:pt x="344" y="1042"/>
                  </a:cubicBezTo>
                  <a:cubicBezTo>
                    <a:pt x="367" y="1006"/>
                    <a:pt x="373" y="1006"/>
                    <a:pt x="374" y="1001"/>
                  </a:cubicBezTo>
                  <a:cubicBezTo>
                    <a:pt x="410" y="964"/>
                    <a:pt x="416" y="964"/>
                    <a:pt x="417" y="959"/>
                  </a:cubicBezTo>
                  <a:cubicBezTo>
                    <a:pt x="453" y="919"/>
                    <a:pt x="467" y="910"/>
                    <a:pt x="475" y="896"/>
                  </a:cubicBezTo>
                  <a:cubicBezTo>
                    <a:pt x="505" y="865"/>
                    <a:pt x="517" y="863"/>
                    <a:pt x="520" y="850"/>
                  </a:cubicBezTo>
                  <a:cubicBezTo>
                    <a:pt x="554" y="810"/>
                    <a:pt x="558" y="807"/>
                    <a:pt x="560" y="802"/>
                  </a:cubicBezTo>
                  <a:cubicBezTo>
                    <a:pt x="584" y="766"/>
                    <a:pt x="596" y="762"/>
                    <a:pt x="598" y="750"/>
                  </a:cubicBezTo>
                  <a:cubicBezTo>
                    <a:pt x="627" y="704"/>
                    <a:pt x="632" y="702"/>
                    <a:pt x="633" y="697"/>
                  </a:cubicBezTo>
                  <a:cubicBezTo>
                    <a:pt x="623" y="720"/>
                    <a:pt x="626" y="728"/>
                    <a:pt x="621" y="727"/>
                  </a:cubicBezTo>
                  <a:cubicBezTo>
                    <a:pt x="597" y="761"/>
                    <a:pt x="596" y="771"/>
                    <a:pt x="588" y="772"/>
                  </a:cubicBezTo>
                  <a:cubicBezTo>
                    <a:pt x="575" y="802"/>
                    <a:pt x="566" y="803"/>
                    <a:pt x="565" y="812"/>
                  </a:cubicBezTo>
                  <a:cubicBezTo>
                    <a:pt x="538" y="856"/>
                    <a:pt x="525" y="854"/>
                    <a:pt x="525" y="865"/>
                  </a:cubicBezTo>
                  <a:cubicBezTo>
                    <a:pt x="510" y="886"/>
                    <a:pt x="501" y="883"/>
                    <a:pt x="500" y="888"/>
                  </a:cubicBezTo>
                  <a:cubicBezTo>
                    <a:pt x="481" y="905"/>
                    <a:pt x="479" y="907"/>
                    <a:pt x="477" y="911"/>
                  </a:cubicBezTo>
                  <a:cubicBezTo>
                    <a:pt x="449" y="935"/>
                    <a:pt x="452" y="943"/>
                    <a:pt x="447" y="943"/>
                  </a:cubicBezTo>
                  <a:cubicBezTo>
                    <a:pt x="429" y="962"/>
                    <a:pt x="427" y="963"/>
                    <a:pt x="425" y="966"/>
                  </a:cubicBezTo>
                  <a:cubicBezTo>
                    <a:pt x="401" y="992"/>
                    <a:pt x="398" y="995"/>
                    <a:pt x="394" y="996"/>
                  </a:cubicBezTo>
                  <a:cubicBezTo>
                    <a:pt x="379" y="1017"/>
                    <a:pt x="373" y="1015"/>
                    <a:pt x="374" y="1021"/>
                  </a:cubicBezTo>
                  <a:cubicBezTo>
                    <a:pt x="331" y="1077"/>
                    <a:pt x="326" y="1081"/>
                    <a:pt x="324" y="1089"/>
                  </a:cubicBezTo>
                  <a:cubicBezTo>
                    <a:pt x="309" y="1105"/>
                    <a:pt x="309" y="1109"/>
                    <a:pt x="309" y="1112"/>
                  </a:cubicBezTo>
                  <a:cubicBezTo>
                    <a:pt x="293" y="1133"/>
                    <a:pt x="293" y="1139"/>
                    <a:pt x="289" y="1142"/>
                  </a:cubicBezTo>
                  <a:cubicBezTo>
                    <a:pt x="272" y="1170"/>
                    <a:pt x="273" y="1176"/>
                    <a:pt x="271" y="1180"/>
                  </a:cubicBezTo>
                  <a:cubicBezTo>
                    <a:pt x="246" y="1241"/>
                    <a:pt x="246" y="1250"/>
                    <a:pt x="246" y="1258"/>
                  </a:cubicBezTo>
                  <a:cubicBezTo>
                    <a:pt x="257" y="1254"/>
                    <a:pt x="254" y="1246"/>
                    <a:pt x="259" y="1246"/>
                  </a:cubicBezTo>
                  <a:cubicBezTo>
                    <a:pt x="274" y="1211"/>
                    <a:pt x="275" y="1207"/>
                    <a:pt x="279" y="1205"/>
                  </a:cubicBezTo>
                  <a:cubicBezTo>
                    <a:pt x="320" y="1146"/>
                    <a:pt x="319" y="1135"/>
                    <a:pt x="327" y="1132"/>
                  </a:cubicBezTo>
                  <a:cubicBezTo>
                    <a:pt x="353" y="1085"/>
                    <a:pt x="363" y="1084"/>
                    <a:pt x="364" y="1074"/>
                  </a:cubicBezTo>
                  <a:cubicBezTo>
                    <a:pt x="392" y="1044"/>
                    <a:pt x="389" y="1036"/>
                    <a:pt x="394" y="1037"/>
                  </a:cubicBezTo>
                  <a:cubicBezTo>
                    <a:pt x="409" y="1021"/>
                    <a:pt x="409" y="1018"/>
                    <a:pt x="409" y="1016"/>
                  </a:cubicBezTo>
                  <a:cubicBezTo>
                    <a:pt x="421" y="1005"/>
                    <a:pt x="423" y="1003"/>
                    <a:pt x="427" y="1001"/>
                  </a:cubicBezTo>
                  <a:cubicBezTo>
                    <a:pt x="466" y="955"/>
                    <a:pt x="477" y="948"/>
                    <a:pt x="485" y="938"/>
                  </a:cubicBezTo>
                  <a:cubicBezTo>
                    <a:pt x="518" y="914"/>
                    <a:pt x="515" y="906"/>
                    <a:pt x="520" y="906"/>
                  </a:cubicBezTo>
                  <a:cubicBezTo>
                    <a:pt x="551" y="882"/>
                    <a:pt x="558" y="873"/>
                    <a:pt x="568" y="865"/>
                  </a:cubicBezTo>
                  <a:cubicBezTo>
                    <a:pt x="556" y="886"/>
                    <a:pt x="553" y="888"/>
                    <a:pt x="548" y="888"/>
                  </a:cubicBezTo>
                  <a:cubicBezTo>
                    <a:pt x="519" y="917"/>
                    <a:pt x="514" y="922"/>
                    <a:pt x="508" y="926"/>
                  </a:cubicBezTo>
                  <a:cubicBezTo>
                    <a:pt x="486" y="947"/>
                    <a:pt x="481" y="952"/>
                    <a:pt x="477" y="958"/>
                  </a:cubicBezTo>
                  <a:cubicBezTo>
                    <a:pt x="437" y="1004"/>
                    <a:pt x="435" y="1006"/>
                    <a:pt x="432" y="1009"/>
                  </a:cubicBezTo>
                  <a:cubicBezTo>
                    <a:pt x="378" y="1069"/>
                    <a:pt x="375" y="1086"/>
                    <a:pt x="362" y="1094"/>
                  </a:cubicBezTo>
                  <a:cubicBezTo>
                    <a:pt x="324" y="1152"/>
                    <a:pt x="326" y="1159"/>
                    <a:pt x="319" y="1157"/>
                  </a:cubicBezTo>
                  <a:cubicBezTo>
                    <a:pt x="305" y="1192"/>
                    <a:pt x="293" y="1190"/>
                    <a:pt x="294" y="1200"/>
                  </a:cubicBezTo>
                  <a:cubicBezTo>
                    <a:pt x="266" y="1260"/>
                    <a:pt x="259" y="1258"/>
                    <a:pt x="259" y="1263"/>
                  </a:cubicBezTo>
                  <a:cubicBezTo>
                    <a:pt x="251" y="1298"/>
                    <a:pt x="251" y="1292"/>
                    <a:pt x="246" y="1291"/>
                  </a:cubicBezTo>
                  <a:cubicBezTo>
                    <a:pt x="271" y="1295"/>
                    <a:pt x="258" y="1283"/>
                    <a:pt x="271" y="1283"/>
                  </a:cubicBezTo>
                  <a:cubicBezTo>
                    <a:pt x="326" y="1167"/>
                    <a:pt x="332" y="1165"/>
                    <a:pt x="334" y="1160"/>
                  </a:cubicBezTo>
                  <a:cubicBezTo>
                    <a:pt x="350" y="1123"/>
                    <a:pt x="361" y="1126"/>
                    <a:pt x="359" y="1117"/>
                  </a:cubicBezTo>
                  <a:cubicBezTo>
                    <a:pt x="387" y="1084"/>
                    <a:pt x="394" y="1076"/>
                    <a:pt x="399" y="1067"/>
                  </a:cubicBezTo>
                  <a:cubicBezTo>
                    <a:pt x="475" y="1001"/>
                    <a:pt x="472" y="992"/>
                    <a:pt x="480" y="994"/>
                  </a:cubicBezTo>
                  <a:cubicBezTo>
                    <a:pt x="497" y="981"/>
                    <a:pt x="502" y="975"/>
                    <a:pt x="510" y="971"/>
                  </a:cubicBezTo>
                  <a:cubicBezTo>
                    <a:pt x="532" y="952"/>
                    <a:pt x="534" y="948"/>
                    <a:pt x="540" y="948"/>
                  </a:cubicBezTo>
                  <a:cubicBezTo>
                    <a:pt x="553" y="931"/>
                    <a:pt x="556" y="931"/>
                    <a:pt x="558" y="931"/>
                  </a:cubicBezTo>
                  <a:cubicBezTo>
                    <a:pt x="594" y="891"/>
                    <a:pt x="607" y="882"/>
                    <a:pt x="613" y="865"/>
                  </a:cubicBezTo>
                  <a:cubicBezTo>
                    <a:pt x="599" y="896"/>
                    <a:pt x="595" y="896"/>
                    <a:pt x="596" y="901"/>
                  </a:cubicBezTo>
                  <a:cubicBezTo>
                    <a:pt x="577" y="920"/>
                    <a:pt x="574" y="924"/>
                    <a:pt x="568" y="926"/>
                  </a:cubicBezTo>
                  <a:cubicBezTo>
                    <a:pt x="544" y="951"/>
                    <a:pt x="537" y="951"/>
                    <a:pt x="538" y="958"/>
                  </a:cubicBezTo>
                  <a:cubicBezTo>
                    <a:pt x="508" y="985"/>
                    <a:pt x="498" y="990"/>
                    <a:pt x="490" y="996"/>
                  </a:cubicBezTo>
                  <a:cubicBezTo>
                    <a:pt x="458" y="1014"/>
                    <a:pt x="462" y="1026"/>
                    <a:pt x="455" y="1026"/>
                  </a:cubicBezTo>
                  <a:cubicBezTo>
                    <a:pt x="438" y="1046"/>
                    <a:pt x="433" y="1046"/>
                    <a:pt x="432" y="1049"/>
                  </a:cubicBezTo>
                  <a:cubicBezTo>
                    <a:pt x="398" y="1090"/>
                    <a:pt x="392" y="1088"/>
                    <a:pt x="392" y="1092"/>
                  </a:cubicBezTo>
                  <a:cubicBezTo>
                    <a:pt x="371" y="1115"/>
                    <a:pt x="368" y="1120"/>
                    <a:pt x="367" y="1127"/>
                  </a:cubicBezTo>
                  <a:cubicBezTo>
                    <a:pt x="343" y="1159"/>
                    <a:pt x="343" y="1167"/>
                    <a:pt x="339" y="1170"/>
                  </a:cubicBezTo>
                  <a:cubicBezTo>
                    <a:pt x="304" y="1239"/>
                    <a:pt x="296" y="1239"/>
                    <a:pt x="296" y="1248"/>
                  </a:cubicBezTo>
                  <a:cubicBezTo>
                    <a:pt x="278" y="1277"/>
                    <a:pt x="287" y="1279"/>
                    <a:pt x="281" y="1281"/>
                  </a:cubicBezTo>
                  <a:cubicBezTo>
                    <a:pt x="246" y="1371"/>
                    <a:pt x="256" y="1372"/>
                    <a:pt x="254" y="1386"/>
                  </a:cubicBezTo>
                  <a:cubicBezTo>
                    <a:pt x="266" y="1357"/>
                    <a:pt x="266" y="1353"/>
                    <a:pt x="266" y="1349"/>
                  </a:cubicBezTo>
                  <a:cubicBezTo>
                    <a:pt x="293" y="1281"/>
                    <a:pt x="296" y="1281"/>
                    <a:pt x="299" y="1281"/>
                  </a:cubicBezTo>
                  <a:cubicBezTo>
                    <a:pt x="308" y="1258"/>
                    <a:pt x="314" y="1259"/>
                    <a:pt x="312" y="1251"/>
                  </a:cubicBezTo>
                  <a:cubicBezTo>
                    <a:pt x="332" y="1226"/>
                    <a:pt x="333" y="1221"/>
                    <a:pt x="334" y="1215"/>
                  </a:cubicBezTo>
                  <a:cubicBezTo>
                    <a:pt x="360" y="1186"/>
                    <a:pt x="360" y="1174"/>
                    <a:pt x="367" y="1170"/>
                  </a:cubicBezTo>
                  <a:cubicBezTo>
                    <a:pt x="400" y="1124"/>
                    <a:pt x="404" y="1118"/>
                    <a:pt x="410" y="1112"/>
                  </a:cubicBezTo>
                  <a:cubicBezTo>
                    <a:pt x="423" y="1096"/>
                    <a:pt x="424" y="1094"/>
                    <a:pt x="427" y="1094"/>
                  </a:cubicBezTo>
                  <a:cubicBezTo>
                    <a:pt x="449" y="1060"/>
                    <a:pt x="460" y="1065"/>
                    <a:pt x="457" y="1057"/>
                  </a:cubicBezTo>
                  <a:cubicBezTo>
                    <a:pt x="497" y="1018"/>
                    <a:pt x="528" y="1004"/>
                    <a:pt x="548" y="979"/>
                  </a:cubicBezTo>
                  <a:cubicBezTo>
                    <a:pt x="588" y="940"/>
                    <a:pt x="590" y="931"/>
                    <a:pt x="596" y="926"/>
                  </a:cubicBezTo>
                  <a:cubicBezTo>
                    <a:pt x="623" y="900"/>
                    <a:pt x="616" y="899"/>
                    <a:pt x="618" y="906"/>
                  </a:cubicBezTo>
                  <a:cubicBezTo>
                    <a:pt x="606" y="925"/>
                    <a:pt x="604" y="927"/>
                    <a:pt x="601" y="928"/>
                  </a:cubicBezTo>
                  <a:cubicBezTo>
                    <a:pt x="563" y="980"/>
                    <a:pt x="555" y="982"/>
                    <a:pt x="553" y="989"/>
                  </a:cubicBezTo>
                  <a:cubicBezTo>
                    <a:pt x="513" y="1021"/>
                    <a:pt x="511" y="1023"/>
                    <a:pt x="508" y="1024"/>
                  </a:cubicBezTo>
                  <a:cubicBezTo>
                    <a:pt x="476" y="1056"/>
                    <a:pt x="471" y="1060"/>
                    <a:pt x="465" y="1062"/>
                  </a:cubicBezTo>
                  <a:cubicBezTo>
                    <a:pt x="439" y="1098"/>
                    <a:pt x="432" y="1100"/>
                    <a:pt x="427" y="1104"/>
                  </a:cubicBezTo>
                  <a:cubicBezTo>
                    <a:pt x="413" y="1124"/>
                    <a:pt x="407" y="1124"/>
                    <a:pt x="407" y="1132"/>
                  </a:cubicBezTo>
                  <a:cubicBezTo>
                    <a:pt x="374" y="1182"/>
                    <a:pt x="363" y="1186"/>
                    <a:pt x="359" y="1198"/>
                  </a:cubicBezTo>
                  <a:cubicBezTo>
                    <a:pt x="344" y="1221"/>
                    <a:pt x="342" y="1223"/>
                    <a:pt x="342" y="1225"/>
                  </a:cubicBezTo>
                  <a:cubicBezTo>
                    <a:pt x="314" y="1273"/>
                    <a:pt x="309" y="1276"/>
                    <a:pt x="309" y="1283"/>
                  </a:cubicBezTo>
                  <a:cubicBezTo>
                    <a:pt x="299" y="1304"/>
                    <a:pt x="294" y="1306"/>
                    <a:pt x="294" y="1313"/>
                  </a:cubicBezTo>
                  <a:cubicBezTo>
                    <a:pt x="281" y="1340"/>
                    <a:pt x="281" y="1342"/>
                    <a:pt x="279" y="1341"/>
                  </a:cubicBezTo>
                  <a:cubicBezTo>
                    <a:pt x="272" y="1377"/>
                    <a:pt x="264" y="1384"/>
                    <a:pt x="266" y="1402"/>
                  </a:cubicBezTo>
                  <a:cubicBezTo>
                    <a:pt x="266" y="1422"/>
                    <a:pt x="267" y="1407"/>
                    <a:pt x="274" y="1399"/>
                  </a:cubicBezTo>
                  <a:cubicBezTo>
                    <a:pt x="295" y="1345"/>
                    <a:pt x="300" y="1321"/>
                    <a:pt x="314" y="1306"/>
                  </a:cubicBezTo>
                  <a:cubicBezTo>
                    <a:pt x="332" y="1263"/>
                    <a:pt x="339" y="1255"/>
                    <a:pt x="347" y="1248"/>
                  </a:cubicBezTo>
                  <a:cubicBezTo>
                    <a:pt x="384" y="1190"/>
                    <a:pt x="386" y="1184"/>
                    <a:pt x="392" y="1182"/>
                  </a:cubicBezTo>
                  <a:cubicBezTo>
                    <a:pt x="430" y="1138"/>
                    <a:pt x="434" y="1127"/>
                    <a:pt x="445" y="1122"/>
                  </a:cubicBezTo>
                  <a:cubicBezTo>
                    <a:pt x="500" y="1074"/>
                    <a:pt x="508" y="1067"/>
                    <a:pt x="515" y="1059"/>
                  </a:cubicBezTo>
                  <a:cubicBezTo>
                    <a:pt x="543" y="1027"/>
                    <a:pt x="554" y="1024"/>
                    <a:pt x="558" y="1014"/>
                  </a:cubicBezTo>
                  <a:cubicBezTo>
                    <a:pt x="546" y="1032"/>
                    <a:pt x="548" y="1039"/>
                    <a:pt x="545" y="1041"/>
                  </a:cubicBezTo>
                  <a:cubicBezTo>
                    <a:pt x="519" y="1066"/>
                    <a:pt x="517" y="1068"/>
                    <a:pt x="515" y="1072"/>
                  </a:cubicBezTo>
                  <a:cubicBezTo>
                    <a:pt x="498" y="1090"/>
                    <a:pt x="490" y="1087"/>
                    <a:pt x="490" y="1092"/>
                  </a:cubicBezTo>
                  <a:cubicBezTo>
                    <a:pt x="467" y="1109"/>
                    <a:pt x="464" y="1117"/>
                    <a:pt x="457" y="1120"/>
                  </a:cubicBezTo>
                  <a:cubicBezTo>
                    <a:pt x="439" y="1141"/>
                    <a:pt x="434" y="1146"/>
                    <a:pt x="430" y="1152"/>
                  </a:cubicBezTo>
                  <a:cubicBezTo>
                    <a:pt x="407" y="1180"/>
                    <a:pt x="396" y="1189"/>
                    <a:pt x="389" y="1203"/>
                  </a:cubicBezTo>
                  <a:cubicBezTo>
                    <a:pt x="340" y="1277"/>
                    <a:pt x="340" y="1283"/>
                    <a:pt x="334" y="1283"/>
                  </a:cubicBezTo>
                  <a:cubicBezTo>
                    <a:pt x="311" y="1324"/>
                    <a:pt x="312" y="1337"/>
                    <a:pt x="304" y="1341"/>
                  </a:cubicBezTo>
                  <a:cubicBezTo>
                    <a:pt x="283" y="1403"/>
                    <a:pt x="280" y="1411"/>
                    <a:pt x="276" y="1419"/>
                  </a:cubicBezTo>
                  <a:cubicBezTo>
                    <a:pt x="267" y="1456"/>
                    <a:pt x="262" y="1466"/>
                    <a:pt x="264" y="1469"/>
                  </a:cubicBezTo>
                  <a:cubicBezTo>
                    <a:pt x="279" y="1429"/>
                    <a:pt x="286" y="1428"/>
                    <a:pt x="284" y="1419"/>
                  </a:cubicBezTo>
                  <a:cubicBezTo>
                    <a:pt x="311" y="1363"/>
                    <a:pt x="316" y="1353"/>
                    <a:pt x="322" y="1344"/>
                  </a:cubicBezTo>
                  <a:cubicBezTo>
                    <a:pt x="341" y="1299"/>
                    <a:pt x="344" y="1299"/>
                    <a:pt x="347" y="1298"/>
                  </a:cubicBezTo>
                  <a:cubicBezTo>
                    <a:pt x="377" y="1253"/>
                    <a:pt x="377" y="1246"/>
                    <a:pt x="382" y="1243"/>
                  </a:cubicBezTo>
                  <a:cubicBezTo>
                    <a:pt x="470" y="1149"/>
                    <a:pt x="469" y="1136"/>
                    <a:pt x="480" y="1135"/>
                  </a:cubicBezTo>
                  <a:cubicBezTo>
                    <a:pt x="514" y="1093"/>
                    <a:pt x="525" y="1097"/>
                    <a:pt x="523" y="1089"/>
                  </a:cubicBezTo>
                  <a:cubicBezTo>
                    <a:pt x="569" y="1039"/>
                    <a:pt x="577" y="1036"/>
                    <a:pt x="581" y="1029"/>
                  </a:cubicBezTo>
                  <a:cubicBezTo>
                    <a:pt x="617" y="976"/>
                    <a:pt x="617" y="985"/>
                    <a:pt x="613" y="989"/>
                  </a:cubicBezTo>
                  <a:cubicBezTo>
                    <a:pt x="598" y="1018"/>
                    <a:pt x="597" y="1023"/>
                    <a:pt x="596" y="1029"/>
                  </a:cubicBezTo>
                  <a:cubicBezTo>
                    <a:pt x="570" y="1050"/>
                    <a:pt x="572" y="1056"/>
                    <a:pt x="568" y="1057"/>
                  </a:cubicBezTo>
                  <a:cubicBezTo>
                    <a:pt x="549" y="1084"/>
                    <a:pt x="545" y="1084"/>
                    <a:pt x="545" y="1089"/>
                  </a:cubicBezTo>
                  <a:cubicBezTo>
                    <a:pt x="517" y="1111"/>
                    <a:pt x="509" y="1114"/>
                    <a:pt x="505" y="1122"/>
                  </a:cubicBezTo>
                  <a:cubicBezTo>
                    <a:pt x="448" y="1187"/>
                    <a:pt x="435" y="1186"/>
                    <a:pt x="435" y="1198"/>
                  </a:cubicBezTo>
                  <a:cubicBezTo>
                    <a:pt x="358" y="1294"/>
                    <a:pt x="359" y="1303"/>
                    <a:pt x="352" y="1303"/>
                  </a:cubicBezTo>
                  <a:cubicBezTo>
                    <a:pt x="338" y="1342"/>
                    <a:pt x="332" y="1344"/>
                    <a:pt x="329" y="1349"/>
                  </a:cubicBezTo>
                  <a:cubicBezTo>
                    <a:pt x="294" y="1419"/>
                    <a:pt x="294" y="1435"/>
                    <a:pt x="287" y="1442"/>
                  </a:cubicBezTo>
                  <a:cubicBezTo>
                    <a:pt x="275" y="1485"/>
                    <a:pt x="278" y="1489"/>
                    <a:pt x="279" y="1495"/>
                  </a:cubicBezTo>
                  <a:cubicBezTo>
                    <a:pt x="284" y="1538"/>
                    <a:pt x="280" y="1529"/>
                    <a:pt x="282" y="1525"/>
                  </a:cubicBezTo>
                  <a:cubicBezTo>
                    <a:pt x="295" y="1474"/>
                    <a:pt x="302" y="1461"/>
                    <a:pt x="307" y="1447"/>
                  </a:cubicBezTo>
                  <a:cubicBezTo>
                    <a:pt x="319" y="1424"/>
                    <a:pt x="316" y="1416"/>
                    <a:pt x="319" y="1414"/>
                  </a:cubicBezTo>
                  <a:cubicBezTo>
                    <a:pt x="344" y="1364"/>
                    <a:pt x="347" y="1363"/>
                    <a:pt x="347" y="1359"/>
                  </a:cubicBezTo>
                  <a:cubicBezTo>
                    <a:pt x="359" y="1339"/>
                    <a:pt x="361" y="1336"/>
                    <a:pt x="362" y="1334"/>
                  </a:cubicBezTo>
                  <a:cubicBezTo>
                    <a:pt x="386" y="1299"/>
                    <a:pt x="387" y="1292"/>
                    <a:pt x="392" y="1288"/>
                  </a:cubicBezTo>
                  <a:cubicBezTo>
                    <a:pt x="420" y="1249"/>
                    <a:pt x="427" y="1239"/>
                    <a:pt x="435" y="1230"/>
                  </a:cubicBezTo>
                  <a:cubicBezTo>
                    <a:pt x="468" y="1194"/>
                    <a:pt x="469" y="1191"/>
                    <a:pt x="473" y="1190"/>
                  </a:cubicBezTo>
                  <a:cubicBezTo>
                    <a:pt x="499" y="1158"/>
                    <a:pt x="504" y="1154"/>
                    <a:pt x="508" y="1150"/>
                  </a:cubicBezTo>
                  <a:cubicBezTo>
                    <a:pt x="538" y="1112"/>
                    <a:pt x="545" y="1102"/>
                    <a:pt x="553" y="1092"/>
                  </a:cubicBezTo>
                  <a:cubicBezTo>
                    <a:pt x="577" y="1069"/>
                    <a:pt x="569" y="1068"/>
                    <a:pt x="568" y="1074"/>
                  </a:cubicBezTo>
                  <a:cubicBezTo>
                    <a:pt x="540" y="1125"/>
                    <a:pt x="527" y="1138"/>
                    <a:pt x="518" y="1152"/>
                  </a:cubicBezTo>
                  <a:cubicBezTo>
                    <a:pt x="491" y="1186"/>
                    <a:pt x="486" y="1188"/>
                    <a:pt x="483" y="1190"/>
                  </a:cubicBezTo>
                  <a:cubicBezTo>
                    <a:pt x="445" y="1238"/>
                    <a:pt x="436" y="1241"/>
                    <a:pt x="432" y="1250"/>
                  </a:cubicBezTo>
                  <a:cubicBezTo>
                    <a:pt x="381" y="1320"/>
                    <a:pt x="378" y="1330"/>
                    <a:pt x="372" y="1336"/>
                  </a:cubicBezTo>
                  <a:cubicBezTo>
                    <a:pt x="342" y="1391"/>
                    <a:pt x="337" y="1398"/>
                    <a:pt x="332" y="1404"/>
                  </a:cubicBezTo>
                  <a:cubicBezTo>
                    <a:pt x="297" y="1512"/>
                    <a:pt x="299" y="1511"/>
                    <a:pt x="297" y="1517"/>
                  </a:cubicBezTo>
                  <a:cubicBezTo>
                    <a:pt x="285" y="1562"/>
                    <a:pt x="292" y="1562"/>
                    <a:pt x="292" y="1570"/>
                  </a:cubicBezTo>
                  <a:cubicBezTo>
                    <a:pt x="308" y="1526"/>
                    <a:pt x="315" y="1528"/>
                    <a:pt x="312" y="1520"/>
                  </a:cubicBezTo>
                  <a:cubicBezTo>
                    <a:pt x="334" y="1475"/>
                    <a:pt x="332" y="1464"/>
                    <a:pt x="339" y="1462"/>
                  </a:cubicBezTo>
                  <a:cubicBezTo>
                    <a:pt x="371" y="1397"/>
                    <a:pt x="376" y="1392"/>
                    <a:pt x="380" y="1386"/>
                  </a:cubicBezTo>
                  <a:cubicBezTo>
                    <a:pt x="418" y="1328"/>
                    <a:pt x="420" y="1321"/>
                    <a:pt x="425" y="1316"/>
                  </a:cubicBezTo>
                  <a:cubicBezTo>
                    <a:pt x="441" y="1283"/>
                    <a:pt x="447" y="1285"/>
                    <a:pt x="447" y="1281"/>
                  </a:cubicBezTo>
                  <a:cubicBezTo>
                    <a:pt x="479" y="1240"/>
                    <a:pt x="484" y="1230"/>
                    <a:pt x="493" y="1225"/>
                  </a:cubicBezTo>
                  <a:cubicBezTo>
                    <a:pt x="510" y="1208"/>
                    <a:pt x="509" y="1213"/>
                    <a:pt x="513" y="1213"/>
                  </a:cubicBezTo>
                  <a:cubicBezTo>
                    <a:pt x="523" y="1194"/>
                    <a:pt x="525" y="1193"/>
                    <a:pt x="525" y="1190"/>
                  </a:cubicBezTo>
                  <a:cubicBezTo>
                    <a:pt x="562" y="1144"/>
                    <a:pt x="564" y="1140"/>
                    <a:pt x="563" y="1135"/>
                  </a:cubicBezTo>
                  <a:cubicBezTo>
                    <a:pt x="582" y="1095"/>
                    <a:pt x="589" y="1084"/>
                    <a:pt x="596" y="1072"/>
                  </a:cubicBezTo>
                  <a:cubicBezTo>
                    <a:pt x="579" y="1116"/>
                    <a:pt x="576" y="1130"/>
                    <a:pt x="571" y="1142"/>
                  </a:cubicBezTo>
                  <a:cubicBezTo>
                    <a:pt x="549" y="1177"/>
                    <a:pt x="552" y="1188"/>
                    <a:pt x="545" y="1190"/>
                  </a:cubicBezTo>
                  <a:cubicBezTo>
                    <a:pt x="519" y="1245"/>
                    <a:pt x="511" y="1246"/>
                    <a:pt x="513" y="1255"/>
                  </a:cubicBezTo>
                  <a:cubicBezTo>
                    <a:pt x="489" y="1289"/>
                    <a:pt x="487" y="1295"/>
                    <a:pt x="485" y="1301"/>
                  </a:cubicBezTo>
                  <a:cubicBezTo>
                    <a:pt x="460" y="1334"/>
                    <a:pt x="463" y="1345"/>
                    <a:pt x="458" y="1349"/>
                  </a:cubicBezTo>
                  <a:cubicBezTo>
                    <a:pt x="437" y="1384"/>
                    <a:pt x="437" y="1392"/>
                    <a:pt x="432" y="1396"/>
                  </a:cubicBezTo>
                  <a:cubicBezTo>
                    <a:pt x="427" y="1433"/>
                    <a:pt x="425" y="1426"/>
                    <a:pt x="427" y="1424"/>
                  </a:cubicBezTo>
                  <a:cubicBezTo>
                    <a:pt x="443" y="1405"/>
                    <a:pt x="440" y="1397"/>
                    <a:pt x="445" y="1396"/>
                  </a:cubicBezTo>
                  <a:cubicBezTo>
                    <a:pt x="475" y="1348"/>
                    <a:pt x="476" y="1344"/>
                    <a:pt x="475" y="1338"/>
                  </a:cubicBezTo>
                  <a:cubicBezTo>
                    <a:pt x="497" y="1313"/>
                    <a:pt x="494" y="1305"/>
                    <a:pt x="498" y="1303"/>
                  </a:cubicBezTo>
                  <a:cubicBezTo>
                    <a:pt x="497" y="1315"/>
                    <a:pt x="494" y="1322"/>
                    <a:pt x="490" y="1328"/>
                  </a:cubicBezTo>
                  <a:cubicBezTo>
                    <a:pt x="462" y="1378"/>
                    <a:pt x="460" y="1382"/>
                    <a:pt x="460" y="1386"/>
                  </a:cubicBezTo>
                  <a:cubicBezTo>
                    <a:pt x="425" y="1445"/>
                    <a:pt x="428" y="1453"/>
                    <a:pt x="425" y="1454"/>
                  </a:cubicBezTo>
                  <a:cubicBezTo>
                    <a:pt x="405" y="1499"/>
                    <a:pt x="398" y="1512"/>
                    <a:pt x="392" y="1525"/>
                  </a:cubicBezTo>
                  <a:cubicBezTo>
                    <a:pt x="371" y="1599"/>
                    <a:pt x="365" y="1598"/>
                    <a:pt x="367" y="1605"/>
                  </a:cubicBezTo>
                  <a:cubicBezTo>
                    <a:pt x="354" y="1641"/>
                    <a:pt x="358" y="1653"/>
                    <a:pt x="352" y="1656"/>
                  </a:cubicBezTo>
                  <a:cubicBezTo>
                    <a:pt x="346" y="1759"/>
                    <a:pt x="343" y="1757"/>
                    <a:pt x="342" y="1754"/>
                  </a:cubicBezTo>
                  <a:cubicBezTo>
                    <a:pt x="349" y="1713"/>
                    <a:pt x="354" y="1702"/>
                    <a:pt x="357" y="1691"/>
                  </a:cubicBezTo>
                  <a:cubicBezTo>
                    <a:pt x="378" y="1637"/>
                    <a:pt x="375" y="1627"/>
                    <a:pt x="380" y="1625"/>
                  </a:cubicBezTo>
                  <a:cubicBezTo>
                    <a:pt x="393" y="1579"/>
                    <a:pt x="398" y="1569"/>
                    <a:pt x="402" y="1560"/>
                  </a:cubicBezTo>
                  <a:cubicBezTo>
                    <a:pt x="415" y="1520"/>
                    <a:pt x="417" y="1514"/>
                    <a:pt x="422" y="1512"/>
                  </a:cubicBezTo>
                  <a:cubicBezTo>
                    <a:pt x="438" y="1477"/>
                    <a:pt x="435" y="1466"/>
                    <a:pt x="440" y="1464"/>
                  </a:cubicBezTo>
                  <a:cubicBezTo>
                    <a:pt x="491" y="1374"/>
                    <a:pt x="493" y="1369"/>
                    <a:pt x="493" y="1361"/>
                  </a:cubicBezTo>
                  <a:cubicBezTo>
                    <a:pt x="533" y="1307"/>
                    <a:pt x="537" y="1281"/>
                    <a:pt x="551" y="1265"/>
                  </a:cubicBezTo>
                  <a:cubicBezTo>
                    <a:pt x="567" y="1213"/>
                    <a:pt x="572" y="1200"/>
                    <a:pt x="576" y="1187"/>
                  </a:cubicBezTo>
                  <a:cubicBezTo>
                    <a:pt x="570" y="1224"/>
                    <a:pt x="567" y="1232"/>
                    <a:pt x="566" y="1243"/>
                  </a:cubicBezTo>
                  <a:cubicBezTo>
                    <a:pt x="527" y="1322"/>
                    <a:pt x="522" y="1329"/>
                    <a:pt x="520" y="1338"/>
                  </a:cubicBezTo>
                  <a:cubicBezTo>
                    <a:pt x="499" y="1364"/>
                    <a:pt x="499" y="1376"/>
                    <a:pt x="493" y="1381"/>
                  </a:cubicBezTo>
                  <a:cubicBezTo>
                    <a:pt x="498" y="1392"/>
                    <a:pt x="498" y="1398"/>
                    <a:pt x="498" y="1404"/>
                  </a:cubicBezTo>
                  <a:cubicBezTo>
                    <a:pt x="532" y="1330"/>
                    <a:pt x="532" y="1345"/>
                    <a:pt x="528" y="1343"/>
                  </a:cubicBezTo>
                  <a:cubicBezTo>
                    <a:pt x="511" y="1391"/>
                    <a:pt x="508" y="1400"/>
                    <a:pt x="505" y="1409"/>
                  </a:cubicBezTo>
                  <a:cubicBezTo>
                    <a:pt x="497" y="1445"/>
                    <a:pt x="494" y="1455"/>
                    <a:pt x="493" y="1467"/>
                  </a:cubicBezTo>
                  <a:cubicBezTo>
                    <a:pt x="496" y="1535"/>
                    <a:pt x="492" y="1549"/>
                    <a:pt x="490" y="1567"/>
                  </a:cubicBezTo>
                  <a:cubicBezTo>
                    <a:pt x="476" y="1593"/>
                    <a:pt x="479" y="1606"/>
                    <a:pt x="473" y="1610"/>
                  </a:cubicBezTo>
                  <a:cubicBezTo>
                    <a:pt x="427" y="1706"/>
                    <a:pt x="422" y="1720"/>
                    <a:pt x="413" y="1731"/>
                  </a:cubicBezTo>
                  <a:cubicBezTo>
                    <a:pt x="408" y="1755"/>
                    <a:pt x="414" y="1746"/>
                    <a:pt x="415" y="1744"/>
                  </a:cubicBezTo>
                  <a:cubicBezTo>
                    <a:pt x="452" y="1724"/>
                    <a:pt x="461" y="1714"/>
                    <a:pt x="468" y="1718"/>
                  </a:cubicBezTo>
                  <a:cubicBezTo>
                    <a:pt x="439" y="1738"/>
                    <a:pt x="429" y="1744"/>
                    <a:pt x="423" y="1754"/>
                  </a:cubicBezTo>
                  <a:cubicBezTo>
                    <a:pt x="390" y="1807"/>
                    <a:pt x="394" y="1818"/>
                    <a:pt x="390" y="1819"/>
                  </a:cubicBezTo>
                  <a:cubicBezTo>
                    <a:pt x="387" y="1852"/>
                    <a:pt x="390" y="1857"/>
                    <a:pt x="393" y="1864"/>
                  </a:cubicBezTo>
                  <a:cubicBezTo>
                    <a:pt x="395" y="1893"/>
                    <a:pt x="401" y="1904"/>
                    <a:pt x="405" y="1917"/>
                  </a:cubicBezTo>
                  <a:cubicBezTo>
                    <a:pt x="418" y="1937"/>
                    <a:pt x="423" y="1944"/>
                    <a:pt x="418" y="1950"/>
                  </a:cubicBezTo>
                  <a:cubicBezTo>
                    <a:pt x="398" y="1927"/>
                    <a:pt x="390" y="1922"/>
                    <a:pt x="388" y="1912"/>
                  </a:cubicBezTo>
                  <a:cubicBezTo>
                    <a:pt x="371" y="1883"/>
                    <a:pt x="363" y="1883"/>
                    <a:pt x="357" y="1880"/>
                  </a:cubicBezTo>
                  <a:cubicBezTo>
                    <a:pt x="325" y="1849"/>
                    <a:pt x="317" y="1848"/>
                    <a:pt x="315" y="1842"/>
                  </a:cubicBezTo>
                  <a:cubicBezTo>
                    <a:pt x="284" y="1820"/>
                    <a:pt x="288" y="1832"/>
                    <a:pt x="299" y="1829"/>
                  </a:cubicBezTo>
                  <a:cubicBezTo>
                    <a:pt x="296" y="1823"/>
                    <a:pt x="286" y="1823"/>
                    <a:pt x="282" y="1817"/>
                  </a:cubicBezTo>
                  <a:cubicBezTo>
                    <a:pt x="235" y="1800"/>
                    <a:pt x="246" y="1796"/>
                    <a:pt x="252" y="1802"/>
                  </a:cubicBezTo>
                  <a:cubicBezTo>
                    <a:pt x="301" y="1810"/>
                    <a:pt x="324" y="1818"/>
                    <a:pt x="342" y="1829"/>
                  </a:cubicBezTo>
                  <a:cubicBezTo>
                    <a:pt x="332" y="1811"/>
                    <a:pt x="328" y="1807"/>
                    <a:pt x="325" y="1802"/>
                  </a:cubicBezTo>
                  <a:cubicBezTo>
                    <a:pt x="300" y="1767"/>
                    <a:pt x="291" y="1768"/>
                    <a:pt x="292" y="1759"/>
                  </a:cubicBezTo>
                  <a:cubicBezTo>
                    <a:pt x="254" y="1707"/>
                    <a:pt x="246" y="1698"/>
                    <a:pt x="239" y="1688"/>
                  </a:cubicBezTo>
                  <a:cubicBezTo>
                    <a:pt x="214" y="1649"/>
                    <a:pt x="204" y="1642"/>
                    <a:pt x="201" y="1628"/>
                  </a:cubicBezTo>
                  <a:cubicBezTo>
                    <a:pt x="178" y="1567"/>
                    <a:pt x="173" y="1562"/>
                    <a:pt x="168" y="1558"/>
                  </a:cubicBezTo>
                  <a:cubicBezTo>
                    <a:pt x="153" y="1520"/>
                    <a:pt x="151" y="1514"/>
                    <a:pt x="146" y="1512"/>
                  </a:cubicBezTo>
                  <a:cubicBezTo>
                    <a:pt x="133" y="1472"/>
                    <a:pt x="123" y="1469"/>
                    <a:pt x="123" y="1457"/>
                  </a:cubicBezTo>
                  <a:cubicBezTo>
                    <a:pt x="108" y="1419"/>
                    <a:pt x="98" y="1416"/>
                    <a:pt x="100" y="1402"/>
                  </a:cubicBezTo>
                  <a:cubicBezTo>
                    <a:pt x="109" y="1417"/>
                    <a:pt x="115" y="1416"/>
                    <a:pt x="113" y="1424"/>
                  </a:cubicBezTo>
                  <a:cubicBezTo>
                    <a:pt x="141" y="1468"/>
                    <a:pt x="143" y="1471"/>
                    <a:pt x="146" y="1475"/>
                  </a:cubicBezTo>
                  <a:cubicBezTo>
                    <a:pt x="184" y="1527"/>
                    <a:pt x="192" y="1530"/>
                    <a:pt x="196" y="1537"/>
                  </a:cubicBezTo>
                  <a:cubicBezTo>
                    <a:pt x="219" y="1559"/>
                    <a:pt x="223" y="1568"/>
                    <a:pt x="231" y="1573"/>
                  </a:cubicBezTo>
                  <a:cubicBezTo>
                    <a:pt x="246" y="1588"/>
                    <a:pt x="247" y="1590"/>
                    <a:pt x="249" y="1590"/>
                  </a:cubicBezTo>
                  <a:cubicBezTo>
                    <a:pt x="274" y="1624"/>
                    <a:pt x="278" y="1626"/>
                    <a:pt x="282" y="1628"/>
                  </a:cubicBezTo>
                  <a:cubicBezTo>
                    <a:pt x="265" y="1589"/>
                    <a:pt x="257" y="1590"/>
                    <a:pt x="259" y="1580"/>
                  </a:cubicBezTo>
                  <a:cubicBezTo>
                    <a:pt x="203" y="1511"/>
                    <a:pt x="196" y="1509"/>
                    <a:pt x="193" y="1502"/>
                  </a:cubicBezTo>
                  <a:cubicBezTo>
                    <a:pt x="172" y="1477"/>
                    <a:pt x="168" y="1477"/>
                    <a:pt x="168" y="1472"/>
                  </a:cubicBezTo>
                  <a:cubicBezTo>
                    <a:pt x="147" y="1441"/>
                    <a:pt x="145" y="1442"/>
                    <a:pt x="146" y="1439"/>
                  </a:cubicBezTo>
                  <a:cubicBezTo>
                    <a:pt x="127" y="1411"/>
                    <a:pt x="130" y="1404"/>
                    <a:pt x="125" y="1404"/>
                  </a:cubicBezTo>
                  <a:cubicBezTo>
                    <a:pt x="102" y="1363"/>
                    <a:pt x="100" y="1355"/>
                    <a:pt x="95" y="1351"/>
                  </a:cubicBezTo>
                  <a:cubicBezTo>
                    <a:pt x="61" y="1229"/>
                    <a:pt x="62" y="1234"/>
                    <a:pt x="62" y="1241"/>
                  </a:cubicBezTo>
                  <a:cubicBezTo>
                    <a:pt x="80" y="1283"/>
                    <a:pt x="77" y="1293"/>
                    <a:pt x="83" y="1293"/>
                  </a:cubicBezTo>
                  <a:cubicBezTo>
                    <a:pt x="100" y="1336"/>
                    <a:pt x="98" y="1345"/>
                    <a:pt x="105" y="1344"/>
                  </a:cubicBezTo>
                  <a:cubicBezTo>
                    <a:pt x="128" y="1387"/>
                    <a:pt x="129" y="1398"/>
                    <a:pt x="135" y="1404"/>
                  </a:cubicBezTo>
                  <a:cubicBezTo>
                    <a:pt x="148" y="1422"/>
                    <a:pt x="148" y="1425"/>
                    <a:pt x="148" y="1427"/>
                  </a:cubicBezTo>
                  <a:cubicBezTo>
                    <a:pt x="176" y="1460"/>
                    <a:pt x="173" y="1469"/>
                    <a:pt x="178" y="1470"/>
                  </a:cubicBezTo>
                  <a:cubicBezTo>
                    <a:pt x="203" y="1506"/>
                    <a:pt x="213" y="1502"/>
                    <a:pt x="211" y="1510"/>
                  </a:cubicBezTo>
                  <a:cubicBezTo>
                    <a:pt x="240" y="1542"/>
                    <a:pt x="244" y="1544"/>
                    <a:pt x="244" y="1550"/>
                  </a:cubicBezTo>
                  <a:cubicBezTo>
                    <a:pt x="270" y="1548"/>
                    <a:pt x="267" y="1546"/>
                    <a:pt x="264" y="1545"/>
                  </a:cubicBezTo>
                  <a:cubicBezTo>
                    <a:pt x="251" y="1520"/>
                    <a:pt x="247" y="1516"/>
                    <a:pt x="249" y="1507"/>
                  </a:cubicBezTo>
                  <a:cubicBezTo>
                    <a:pt x="229" y="1481"/>
                    <a:pt x="225" y="1479"/>
                    <a:pt x="221" y="1477"/>
                  </a:cubicBezTo>
                  <a:cubicBezTo>
                    <a:pt x="196" y="1426"/>
                    <a:pt x="189" y="1427"/>
                    <a:pt x="188" y="1422"/>
                  </a:cubicBezTo>
                  <a:cubicBezTo>
                    <a:pt x="166" y="1386"/>
                    <a:pt x="161" y="1384"/>
                    <a:pt x="161" y="1379"/>
                  </a:cubicBezTo>
                  <a:cubicBezTo>
                    <a:pt x="153" y="1363"/>
                    <a:pt x="149" y="1362"/>
                    <a:pt x="151" y="1354"/>
                  </a:cubicBezTo>
                  <a:cubicBezTo>
                    <a:pt x="119" y="1295"/>
                    <a:pt x="118" y="1290"/>
                    <a:pt x="113" y="1288"/>
                  </a:cubicBezTo>
                  <a:cubicBezTo>
                    <a:pt x="97" y="1255"/>
                    <a:pt x="100" y="1245"/>
                    <a:pt x="95" y="1243"/>
                  </a:cubicBezTo>
                  <a:cubicBezTo>
                    <a:pt x="70" y="1172"/>
                    <a:pt x="70" y="1159"/>
                    <a:pt x="62" y="1153"/>
                  </a:cubicBezTo>
                  <a:cubicBezTo>
                    <a:pt x="55" y="1121"/>
                    <a:pt x="45" y="1115"/>
                    <a:pt x="52" y="1112"/>
                  </a:cubicBezTo>
                  <a:cubicBezTo>
                    <a:pt x="42" y="1090"/>
                    <a:pt x="43" y="1087"/>
                    <a:pt x="42" y="1085"/>
                  </a:cubicBezTo>
                  <a:cubicBezTo>
                    <a:pt x="59" y="1118"/>
                    <a:pt x="61" y="1122"/>
                    <a:pt x="60" y="1127"/>
                  </a:cubicBezTo>
                  <a:cubicBezTo>
                    <a:pt x="83" y="1168"/>
                    <a:pt x="78" y="1179"/>
                    <a:pt x="85" y="1178"/>
                  </a:cubicBezTo>
                  <a:cubicBezTo>
                    <a:pt x="124" y="1262"/>
                    <a:pt x="134" y="1265"/>
                    <a:pt x="135" y="1276"/>
                  </a:cubicBezTo>
                  <a:cubicBezTo>
                    <a:pt x="156" y="1299"/>
                    <a:pt x="155" y="1305"/>
                    <a:pt x="161" y="1306"/>
                  </a:cubicBezTo>
                  <a:cubicBezTo>
                    <a:pt x="182" y="1344"/>
                    <a:pt x="191" y="1353"/>
                    <a:pt x="196" y="1366"/>
                  </a:cubicBezTo>
                  <a:cubicBezTo>
                    <a:pt x="224" y="1410"/>
                    <a:pt x="227" y="1424"/>
                    <a:pt x="236" y="1434"/>
                  </a:cubicBezTo>
                  <a:close/>
                  <a:moveTo>
                    <a:pt x="176" y="1565"/>
                  </a:moveTo>
                  <a:cubicBezTo>
                    <a:pt x="182" y="1568"/>
                    <a:pt x="180" y="1578"/>
                    <a:pt x="186" y="1580"/>
                  </a:cubicBezTo>
                  <a:cubicBezTo>
                    <a:pt x="184" y="1591"/>
                    <a:pt x="194" y="1591"/>
                    <a:pt x="194" y="1600"/>
                  </a:cubicBezTo>
                  <a:cubicBezTo>
                    <a:pt x="200" y="1612"/>
                    <a:pt x="206" y="1624"/>
                    <a:pt x="214" y="1633"/>
                  </a:cubicBezTo>
                  <a:cubicBezTo>
                    <a:pt x="215" y="1640"/>
                    <a:pt x="219" y="1645"/>
                    <a:pt x="224" y="1648"/>
                  </a:cubicBezTo>
                  <a:cubicBezTo>
                    <a:pt x="223" y="1658"/>
                    <a:pt x="232" y="1658"/>
                    <a:pt x="234" y="1666"/>
                  </a:cubicBezTo>
                  <a:cubicBezTo>
                    <a:pt x="240" y="1679"/>
                    <a:pt x="253" y="1684"/>
                    <a:pt x="257" y="1699"/>
                  </a:cubicBezTo>
                  <a:cubicBezTo>
                    <a:pt x="263" y="1700"/>
                    <a:pt x="262" y="1710"/>
                    <a:pt x="269" y="1711"/>
                  </a:cubicBezTo>
                  <a:cubicBezTo>
                    <a:pt x="268" y="1721"/>
                    <a:pt x="280" y="1719"/>
                    <a:pt x="279" y="1729"/>
                  </a:cubicBezTo>
                  <a:cubicBezTo>
                    <a:pt x="290" y="1736"/>
                    <a:pt x="296" y="1747"/>
                    <a:pt x="304" y="1756"/>
                  </a:cubicBezTo>
                  <a:cubicBezTo>
                    <a:pt x="310" y="1768"/>
                    <a:pt x="321" y="1775"/>
                    <a:pt x="327" y="1787"/>
                  </a:cubicBezTo>
                  <a:cubicBezTo>
                    <a:pt x="332" y="1791"/>
                    <a:pt x="334" y="1798"/>
                    <a:pt x="340" y="1802"/>
                  </a:cubicBezTo>
                  <a:cubicBezTo>
                    <a:pt x="340" y="1806"/>
                    <a:pt x="342" y="1808"/>
                    <a:pt x="345" y="1809"/>
                  </a:cubicBezTo>
                  <a:cubicBezTo>
                    <a:pt x="344" y="1812"/>
                    <a:pt x="352" y="1818"/>
                    <a:pt x="352" y="1812"/>
                  </a:cubicBezTo>
                  <a:cubicBezTo>
                    <a:pt x="345" y="1803"/>
                    <a:pt x="341" y="1791"/>
                    <a:pt x="337" y="1779"/>
                  </a:cubicBezTo>
                  <a:cubicBezTo>
                    <a:pt x="333" y="1767"/>
                    <a:pt x="322" y="1762"/>
                    <a:pt x="319" y="1749"/>
                  </a:cubicBezTo>
                  <a:cubicBezTo>
                    <a:pt x="311" y="1741"/>
                    <a:pt x="309" y="1727"/>
                    <a:pt x="299" y="1721"/>
                  </a:cubicBezTo>
                  <a:cubicBezTo>
                    <a:pt x="294" y="1710"/>
                    <a:pt x="284" y="1703"/>
                    <a:pt x="282" y="1688"/>
                  </a:cubicBezTo>
                  <a:cubicBezTo>
                    <a:pt x="273" y="1689"/>
                    <a:pt x="274" y="1681"/>
                    <a:pt x="269" y="1678"/>
                  </a:cubicBezTo>
                  <a:cubicBezTo>
                    <a:pt x="267" y="1672"/>
                    <a:pt x="260" y="1670"/>
                    <a:pt x="256" y="1666"/>
                  </a:cubicBezTo>
                  <a:cubicBezTo>
                    <a:pt x="257" y="1662"/>
                    <a:pt x="255" y="1660"/>
                    <a:pt x="254" y="1658"/>
                  </a:cubicBezTo>
                  <a:cubicBezTo>
                    <a:pt x="254" y="1654"/>
                    <a:pt x="248" y="1656"/>
                    <a:pt x="249" y="1651"/>
                  </a:cubicBezTo>
                  <a:cubicBezTo>
                    <a:pt x="242" y="1650"/>
                    <a:pt x="245" y="1640"/>
                    <a:pt x="236" y="1641"/>
                  </a:cubicBezTo>
                  <a:cubicBezTo>
                    <a:pt x="236" y="1638"/>
                    <a:pt x="236" y="1635"/>
                    <a:pt x="231" y="1636"/>
                  </a:cubicBezTo>
                  <a:cubicBezTo>
                    <a:pt x="231" y="1631"/>
                    <a:pt x="229" y="1629"/>
                    <a:pt x="226" y="1628"/>
                  </a:cubicBezTo>
                  <a:cubicBezTo>
                    <a:pt x="223" y="1623"/>
                    <a:pt x="218" y="1620"/>
                    <a:pt x="216" y="1613"/>
                  </a:cubicBezTo>
                  <a:cubicBezTo>
                    <a:pt x="209" y="1604"/>
                    <a:pt x="202" y="1595"/>
                    <a:pt x="196" y="1585"/>
                  </a:cubicBezTo>
                  <a:cubicBezTo>
                    <a:pt x="189" y="1576"/>
                    <a:pt x="185" y="1565"/>
                    <a:pt x="176" y="1558"/>
                  </a:cubicBezTo>
                  <a:cubicBezTo>
                    <a:pt x="176" y="1560"/>
                    <a:pt x="176" y="1563"/>
                    <a:pt x="176" y="1565"/>
                  </a:cubicBezTo>
                  <a:close/>
                  <a:moveTo>
                    <a:pt x="301" y="820"/>
                  </a:moveTo>
                  <a:cubicBezTo>
                    <a:pt x="302" y="810"/>
                    <a:pt x="310" y="806"/>
                    <a:pt x="311" y="795"/>
                  </a:cubicBezTo>
                  <a:cubicBezTo>
                    <a:pt x="358" y="743"/>
                    <a:pt x="361" y="735"/>
                    <a:pt x="366" y="730"/>
                  </a:cubicBezTo>
                  <a:cubicBezTo>
                    <a:pt x="397" y="702"/>
                    <a:pt x="399" y="697"/>
                    <a:pt x="402" y="694"/>
                  </a:cubicBezTo>
                  <a:cubicBezTo>
                    <a:pt x="437" y="662"/>
                    <a:pt x="439" y="659"/>
                    <a:pt x="442" y="657"/>
                  </a:cubicBezTo>
                  <a:cubicBezTo>
                    <a:pt x="480" y="626"/>
                    <a:pt x="475" y="615"/>
                    <a:pt x="485" y="619"/>
                  </a:cubicBezTo>
                  <a:cubicBezTo>
                    <a:pt x="521" y="575"/>
                    <a:pt x="530" y="573"/>
                    <a:pt x="535" y="566"/>
                  </a:cubicBezTo>
                  <a:cubicBezTo>
                    <a:pt x="554" y="538"/>
                    <a:pt x="566" y="538"/>
                    <a:pt x="568" y="528"/>
                  </a:cubicBezTo>
                  <a:cubicBezTo>
                    <a:pt x="581" y="513"/>
                    <a:pt x="584" y="512"/>
                    <a:pt x="583" y="508"/>
                  </a:cubicBezTo>
                  <a:cubicBezTo>
                    <a:pt x="609" y="476"/>
                    <a:pt x="605" y="465"/>
                    <a:pt x="613" y="468"/>
                  </a:cubicBezTo>
                  <a:cubicBezTo>
                    <a:pt x="604" y="479"/>
                    <a:pt x="593" y="475"/>
                    <a:pt x="595" y="483"/>
                  </a:cubicBezTo>
                  <a:cubicBezTo>
                    <a:pt x="573" y="503"/>
                    <a:pt x="570" y="506"/>
                    <a:pt x="568" y="510"/>
                  </a:cubicBezTo>
                  <a:cubicBezTo>
                    <a:pt x="482" y="577"/>
                    <a:pt x="482" y="583"/>
                    <a:pt x="477" y="584"/>
                  </a:cubicBezTo>
                  <a:cubicBezTo>
                    <a:pt x="464" y="596"/>
                    <a:pt x="458" y="596"/>
                    <a:pt x="457" y="601"/>
                  </a:cubicBezTo>
                  <a:cubicBezTo>
                    <a:pt x="421" y="633"/>
                    <a:pt x="418" y="642"/>
                    <a:pt x="412" y="649"/>
                  </a:cubicBezTo>
                  <a:cubicBezTo>
                    <a:pt x="371" y="689"/>
                    <a:pt x="369" y="694"/>
                    <a:pt x="366" y="697"/>
                  </a:cubicBezTo>
                  <a:cubicBezTo>
                    <a:pt x="338" y="737"/>
                    <a:pt x="331" y="742"/>
                    <a:pt x="326" y="750"/>
                  </a:cubicBezTo>
                  <a:cubicBezTo>
                    <a:pt x="309" y="785"/>
                    <a:pt x="297" y="788"/>
                    <a:pt x="296" y="803"/>
                  </a:cubicBezTo>
                  <a:cubicBezTo>
                    <a:pt x="266" y="851"/>
                    <a:pt x="266" y="857"/>
                    <a:pt x="266" y="863"/>
                  </a:cubicBezTo>
                  <a:close/>
                  <a:moveTo>
                    <a:pt x="318" y="526"/>
                  </a:moveTo>
                  <a:cubicBezTo>
                    <a:pt x="319" y="522"/>
                    <a:pt x="318" y="516"/>
                    <a:pt x="316" y="521"/>
                  </a:cubicBezTo>
                  <a:cubicBezTo>
                    <a:pt x="316" y="524"/>
                    <a:pt x="317" y="530"/>
                    <a:pt x="318" y="526"/>
                  </a:cubicBezTo>
                  <a:close/>
                  <a:moveTo>
                    <a:pt x="321" y="662"/>
                  </a:moveTo>
                  <a:cubicBezTo>
                    <a:pt x="322" y="667"/>
                    <a:pt x="309" y="673"/>
                    <a:pt x="316" y="677"/>
                  </a:cubicBezTo>
                  <a:cubicBezTo>
                    <a:pt x="320" y="673"/>
                    <a:pt x="322" y="665"/>
                    <a:pt x="326" y="662"/>
                  </a:cubicBezTo>
                  <a:cubicBezTo>
                    <a:pt x="326" y="656"/>
                    <a:pt x="338" y="651"/>
                    <a:pt x="331" y="647"/>
                  </a:cubicBezTo>
                  <a:cubicBezTo>
                    <a:pt x="328" y="652"/>
                    <a:pt x="325" y="658"/>
                    <a:pt x="321" y="662"/>
                  </a:cubicBezTo>
                  <a:close/>
                  <a:moveTo>
                    <a:pt x="276" y="745"/>
                  </a:moveTo>
                  <a:cubicBezTo>
                    <a:pt x="274" y="736"/>
                    <a:pt x="283" y="730"/>
                    <a:pt x="273" y="727"/>
                  </a:cubicBezTo>
                  <a:cubicBezTo>
                    <a:pt x="275" y="732"/>
                    <a:pt x="270" y="744"/>
                    <a:pt x="276" y="745"/>
                  </a:cubicBezTo>
                  <a:close/>
                  <a:moveTo>
                    <a:pt x="276" y="793"/>
                  </a:moveTo>
                  <a:cubicBezTo>
                    <a:pt x="277" y="785"/>
                    <a:pt x="285" y="771"/>
                    <a:pt x="278" y="765"/>
                  </a:cubicBezTo>
                  <a:cubicBezTo>
                    <a:pt x="281" y="776"/>
                    <a:pt x="270" y="787"/>
                    <a:pt x="276" y="793"/>
                  </a:cubicBezTo>
                  <a:close/>
                  <a:moveTo>
                    <a:pt x="271" y="830"/>
                  </a:moveTo>
                  <a:cubicBezTo>
                    <a:pt x="268" y="819"/>
                    <a:pt x="285" y="812"/>
                    <a:pt x="273" y="808"/>
                  </a:cubicBezTo>
                  <a:cubicBezTo>
                    <a:pt x="277" y="818"/>
                    <a:pt x="262" y="823"/>
                    <a:pt x="271" y="830"/>
                  </a:cubicBezTo>
                  <a:close/>
                  <a:moveTo>
                    <a:pt x="70" y="883"/>
                  </a:moveTo>
                  <a:cubicBezTo>
                    <a:pt x="75" y="887"/>
                    <a:pt x="73" y="896"/>
                    <a:pt x="77" y="901"/>
                  </a:cubicBezTo>
                  <a:cubicBezTo>
                    <a:pt x="117" y="1000"/>
                    <a:pt x="122" y="1004"/>
                    <a:pt x="123" y="1012"/>
                  </a:cubicBezTo>
                  <a:cubicBezTo>
                    <a:pt x="141" y="1040"/>
                    <a:pt x="140" y="1043"/>
                    <a:pt x="140" y="1044"/>
                  </a:cubicBezTo>
                  <a:cubicBezTo>
                    <a:pt x="173" y="1100"/>
                    <a:pt x="181" y="1101"/>
                    <a:pt x="181" y="1110"/>
                  </a:cubicBezTo>
                  <a:cubicBezTo>
                    <a:pt x="212" y="1160"/>
                    <a:pt x="210" y="1167"/>
                    <a:pt x="213" y="1168"/>
                  </a:cubicBezTo>
                  <a:cubicBezTo>
                    <a:pt x="227" y="1183"/>
                    <a:pt x="222" y="1175"/>
                    <a:pt x="218" y="1168"/>
                  </a:cubicBezTo>
                  <a:cubicBezTo>
                    <a:pt x="214" y="1136"/>
                    <a:pt x="209" y="1137"/>
                    <a:pt x="211" y="1130"/>
                  </a:cubicBezTo>
                  <a:cubicBezTo>
                    <a:pt x="190" y="1087"/>
                    <a:pt x="191" y="1077"/>
                    <a:pt x="186" y="1072"/>
                  </a:cubicBezTo>
                  <a:cubicBezTo>
                    <a:pt x="164" y="1046"/>
                    <a:pt x="172" y="1032"/>
                    <a:pt x="165" y="1034"/>
                  </a:cubicBezTo>
                  <a:cubicBezTo>
                    <a:pt x="130" y="971"/>
                    <a:pt x="123" y="968"/>
                    <a:pt x="123" y="959"/>
                  </a:cubicBezTo>
                  <a:cubicBezTo>
                    <a:pt x="98" y="914"/>
                    <a:pt x="92" y="910"/>
                    <a:pt x="90" y="903"/>
                  </a:cubicBezTo>
                  <a:cubicBezTo>
                    <a:pt x="61" y="859"/>
                    <a:pt x="68" y="868"/>
                    <a:pt x="70" y="883"/>
                  </a:cubicBezTo>
                  <a:close/>
                  <a:moveTo>
                    <a:pt x="266" y="976"/>
                  </a:moveTo>
                  <a:cubicBezTo>
                    <a:pt x="265" y="972"/>
                    <a:pt x="269" y="971"/>
                    <a:pt x="269" y="966"/>
                  </a:cubicBezTo>
                  <a:cubicBezTo>
                    <a:pt x="272" y="966"/>
                    <a:pt x="270" y="959"/>
                    <a:pt x="269" y="964"/>
                  </a:cubicBezTo>
                  <a:cubicBezTo>
                    <a:pt x="266" y="966"/>
                    <a:pt x="260" y="982"/>
                    <a:pt x="266" y="976"/>
                  </a:cubicBezTo>
                  <a:close/>
                  <a:moveTo>
                    <a:pt x="246" y="996"/>
                  </a:moveTo>
                  <a:cubicBezTo>
                    <a:pt x="243" y="988"/>
                    <a:pt x="256" y="983"/>
                    <a:pt x="248" y="979"/>
                  </a:cubicBezTo>
                  <a:cubicBezTo>
                    <a:pt x="246" y="981"/>
                    <a:pt x="239" y="993"/>
                    <a:pt x="246" y="996"/>
                  </a:cubicBezTo>
                  <a:close/>
                  <a:moveTo>
                    <a:pt x="62" y="1039"/>
                  </a:moveTo>
                  <a:cubicBezTo>
                    <a:pt x="61" y="1036"/>
                    <a:pt x="60" y="1034"/>
                    <a:pt x="57" y="1032"/>
                  </a:cubicBezTo>
                  <a:cubicBezTo>
                    <a:pt x="57" y="1035"/>
                    <a:pt x="61" y="1046"/>
                    <a:pt x="62" y="1039"/>
                  </a:cubicBezTo>
                  <a:close/>
                  <a:moveTo>
                    <a:pt x="77" y="1095"/>
                  </a:moveTo>
                  <a:cubicBezTo>
                    <a:pt x="82" y="1101"/>
                    <a:pt x="83" y="1111"/>
                    <a:pt x="87" y="1117"/>
                  </a:cubicBezTo>
                  <a:cubicBezTo>
                    <a:pt x="124" y="1184"/>
                    <a:pt x="126" y="1187"/>
                    <a:pt x="128" y="1190"/>
                  </a:cubicBezTo>
                  <a:cubicBezTo>
                    <a:pt x="146" y="1213"/>
                    <a:pt x="141" y="1224"/>
                    <a:pt x="145" y="1225"/>
                  </a:cubicBezTo>
                  <a:cubicBezTo>
                    <a:pt x="170" y="1271"/>
                    <a:pt x="171" y="1275"/>
                    <a:pt x="176" y="1276"/>
                  </a:cubicBezTo>
                  <a:cubicBezTo>
                    <a:pt x="198" y="1315"/>
                    <a:pt x="204" y="1320"/>
                    <a:pt x="206" y="1329"/>
                  </a:cubicBezTo>
                  <a:cubicBezTo>
                    <a:pt x="220" y="1358"/>
                    <a:pt x="231" y="1358"/>
                    <a:pt x="229" y="1371"/>
                  </a:cubicBezTo>
                  <a:cubicBezTo>
                    <a:pt x="241" y="1386"/>
                    <a:pt x="240" y="1376"/>
                    <a:pt x="239" y="1366"/>
                  </a:cubicBezTo>
                  <a:cubicBezTo>
                    <a:pt x="220" y="1308"/>
                    <a:pt x="214" y="1302"/>
                    <a:pt x="213" y="1291"/>
                  </a:cubicBezTo>
                  <a:cubicBezTo>
                    <a:pt x="199" y="1268"/>
                    <a:pt x="202" y="1260"/>
                    <a:pt x="198" y="1258"/>
                  </a:cubicBezTo>
                  <a:cubicBezTo>
                    <a:pt x="180" y="1215"/>
                    <a:pt x="168" y="1215"/>
                    <a:pt x="168" y="1203"/>
                  </a:cubicBezTo>
                  <a:cubicBezTo>
                    <a:pt x="145" y="1172"/>
                    <a:pt x="150" y="1162"/>
                    <a:pt x="143" y="1163"/>
                  </a:cubicBezTo>
                  <a:cubicBezTo>
                    <a:pt x="113" y="1114"/>
                    <a:pt x="107" y="1108"/>
                    <a:pt x="105" y="1100"/>
                  </a:cubicBezTo>
                  <a:cubicBezTo>
                    <a:pt x="89" y="1081"/>
                    <a:pt x="86" y="1078"/>
                    <a:pt x="85" y="1075"/>
                  </a:cubicBezTo>
                  <a:cubicBezTo>
                    <a:pt x="71" y="1059"/>
                    <a:pt x="73" y="1055"/>
                    <a:pt x="70" y="1054"/>
                  </a:cubicBezTo>
                  <a:close/>
                  <a:moveTo>
                    <a:pt x="332" y="1623"/>
                  </a:moveTo>
                  <a:cubicBezTo>
                    <a:pt x="339" y="1624"/>
                    <a:pt x="330" y="1609"/>
                    <a:pt x="337" y="1610"/>
                  </a:cubicBezTo>
                  <a:cubicBezTo>
                    <a:pt x="359" y="1560"/>
                    <a:pt x="356" y="1544"/>
                    <a:pt x="365" y="1540"/>
                  </a:cubicBezTo>
                  <a:cubicBezTo>
                    <a:pt x="401" y="1455"/>
                    <a:pt x="401" y="1449"/>
                    <a:pt x="402" y="1444"/>
                  </a:cubicBezTo>
                  <a:cubicBezTo>
                    <a:pt x="418" y="1396"/>
                    <a:pt x="424" y="1396"/>
                    <a:pt x="425" y="1391"/>
                  </a:cubicBezTo>
                  <a:cubicBezTo>
                    <a:pt x="450" y="1344"/>
                    <a:pt x="454" y="1335"/>
                    <a:pt x="458" y="1326"/>
                  </a:cubicBezTo>
                  <a:cubicBezTo>
                    <a:pt x="490" y="1276"/>
                    <a:pt x="490" y="1269"/>
                    <a:pt x="493" y="1265"/>
                  </a:cubicBezTo>
                  <a:cubicBezTo>
                    <a:pt x="508" y="1240"/>
                    <a:pt x="511" y="1239"/>
                    <a:pt x="513" y="1238"/>
                  </a:cubicBezTo>
                  <a:cubicBezTo>
                    <a:pt x="521" y="1225"/>
                    <a:pt x="520" y="1221"/>
                    <a:pt x="523" y="1220"/>
                  </a:cubicBezTo>
                  <a:cubicBezTo>
                    <a:pt x="527" y="1215"/>
                    <a:pt x="518" y="1212"/>
                    <a:pt x="520" y="1220"/>
                  </a:cubicBezTo>
                  <a:cubicBezTo>
                    <a:pt x="481" y="1266"/>
                    <a:pt x="469" y="1280"/>
                    <a:pt x="460" y="1296"/>
                  </a:cubicBezTo>
                  <a:cubicBezTo>
                    <a:pt x="412" y="1376"/>
                    <a:pt x="407" y="1384"/>
                    <a:pt x="405" y="1394"/>
                  </a:cubicBezTo>
                  <a:cubicBezTo>
                    <a:pt x="376" y="1447"/>
                    <a:pt x="378" y="1450"/>
                    <a:pt x="377" y="1452"/>
                  </a:cubicBezTo>
                  <a:cubicBezTo>
                    <a:pt x="371" y="1467"/>
                    <a:pt x="366" y="1465"/>
                    <a:pt x="367" y="1472"/>
                  </a:cubicBezTo>
                  <a:cubicBezTo>
                    <a:pt x="344" y="1511"/>
                    <a:pt x="348" y="1521"/>
                    <a:pt x="342" y="1522"/>
                  </a:cubicBezTo>
                  <a:cubicBezTo>
                    <a:pt x="323" y="1591"/>
                    <a:pt x="318" y="1593"/>
                    <a:pt x="317" y="1598"/>
                  </a:cubicBezTo>
                  <a:cubicBezTo>
                    <a:pt x="309" y="1646"/>
                    <a:pt x="309" y="1656"/>
                    <a:pt x="309" y="1666"/>
                  </a:cubicBezTo>
                  <a:close/>
                  <a:moveTo>
                    <a:pt x="115" y="1273"/>
                  </a:moveTo>
                  <a:cubicBezTo>
                    <a:pt x="122" y="1281"/>
                    <a:pt x="126" y="1292"/>
                    <a:pt x="130" y="1301"/>
                  </a:cubicBezTo>
                  <a:cubicBezTo>
                    <a:pt x="136" y="1302"/>
                    <a:pt x="130" y="1315"/>
                    <a:pt x="138" y="1314"/>
                  </a:cubicBezTo>
                  <a:cubicBezTo>
                    <a:pt x="137" y="1322"/>
                    <a:pt x="142" y="1324"/>
                    <a:pt x="145" y="1329"/>
                  </a:cubicBezTo>
                  <a:cubicBezTo>
                    <a:pt x="152" y="1351"/>
                    <a:pt x="166" y="1365"/>
                    <a:pt x="176" y="1384"/>
                  </a:cubicBezTo>
                  <a:cubicBezTo>
                    <a:pt x="182" y="1392"/>
                    <a:pt x="186" y="1402"/>
                    <a:pt x="193" y="1409"/>
                  </a:cubicBezTo>
                  <a:cubicBezTo>
                    <a:pt x="198" y="1412"/>
                    <a:pt x="198" y="1418"/>
                    <a:pt x="201" y="1422"/>
                  </a:cubicBezTo>
                  <a:cubicBezTo>
                    <a:pt x="204" y="1426"/>
                    <a:pt x="207" y="1431"/>
                    <a:pt x="211" y="1434"/>
                  </a:cubicBezTo>
                  <a:cubicBezTo>
                    <a:pt x="214" y="1446"/>
                    <a:pt x="223" y="1451"/>
                    <a:pt x="226" y="1462"/>
                  </a:cubicBezTo>
                  <a:cubicBezTo>
                    <a:pt x="229" y="1467"/>
                    <a:pt x="233" y="1470"/>
                    <a:pt x="236" y="1475"/>
                  </a:cubicBezTo>
                  <a:cubicBezTo>
                    <a:pt x="241" y="1475"/>
                    <a:pt x="241" y="1491"/>
                    <a:pt x="246" y="1482"/>
                  </a:cubicBezTo>
                  <a:cubicBezTo>
                    <a:pt x="241" y="1479"/>
                    <a:pt x="241" y="1471"/>
                    <a:pt x="239" y="1464"/>
                  </a:cubicBezTo>
                  <a:cubicBezTo>
                    <a:pt x="234" y="1460"/>
                    <a:pt x="231" y="1455"/>
                    <a:pt x="229" y="1449"/>
                  </a:cubicBezTo>
                  <a:cubicBezTo>
                    <a:pt x="229" y="1447"/>
                    <a:pt x="229" y="1444"/>
                    <a:pt x="229" y="1442"/>
                  </a:cubicBezTo>
                  <a:cubicBezTo>
                    <a:pt x="221" y="1436"/>
                    <a:pt x="220" y="1425"/>
                    <a:pt x="214" y="1419"/>
                  </a:cubicBezTo>
                  <a:cubicBezTo>
                    <a:pt x="216" y="1411"/>
                    <a:pt x="210" y="1411"/>
                    <a:pt x="208" y="1407"/>
                  </a:cubicBezTo>
                  <a:cubicBezTo>
                    <a:pt x="205" y="1404"/>
                    <a:pt x="205" y="1397"/>
                    <a:pt x="201" y="1394"/>
                  </a:cubicBezTo>
                  <a:cubicBezTo>
                    <a:pt x="197" y="1385"/>
                    <a:pt x="194" y="1376"/>
                    <a:pt x="186" y="1371"/>
                  </a:cubicBezTo>
                  <a:cubicBezTo>
                    <a:pt x="182" y="1362"/>
                    <a:pt x="179" y="1352"/>
                    <a:pt x="171" y="1346"/>
                  </a:cubicBezTo>
                  <a:cubicBezTo>
                    <a:pt x="166" y="1338"/>
                    <a:pt x="163" y="1329"/>
                    <a:pt x="156" y="1324"/>
                  </a:cubicBezTo>
                  <a:cubicBezTo>
                    <a:pt x="157" y="1316"/>
                    <a:pt x="149" y="1319"/>
                    <a:pt x="151" y="1311"/>
                  </a:cubicBezTo>
                  <a:cubicBezTo>
                    <a:pt x="147" y="1311"/>
                    <a:pt x="145" y="1310"/>
                    <a:pt x="145" y="1306"/>
                  </a:cubicBezTo>
                  <a:cubicBezTo>
                    <a:pt x="145" y="1303"/>
                    <a:pt x="141" y="1304"/>
                    <a:pt x="140" y="1301"/>
                  </a:cubicBezTo>
                  <a:cubicBezTo>
                    <a:pt x="139" y="1290"/>
                    <a:pt x="129" y="1287"/>
                    <a:pt x="128" y="1276"/>
                  </a:cubicBezTo>
                  <a:cubicBezTo>
                    <a:pt x="119" y="1278"/>
                    <a:pt x="126" y="1265"/>
                    <a:pt x="118" y="1266"/>
                  </a:cubicBezTo>
                  <a:cubicBezTo>
                    <a:pt x="118" y="1262"/>
                    <a:pt x="117" y="1260"/>
                    <a:pt x="115" y="1258"/>
                  </a:cubicBezTo>
                  <a:cubicBezTo>
                    <a:pt x="112" y="1258"/>
                    <a:pt x="111" y="1255"/>
                    <a:pt x="110" y="1258"/>
                  </a:cubicBezTo>
                  <a:cubicBezTo>
                    <a:pt x="114" y="1261"/>
                    <a:pt x="115" y="1267"/>
                    <a:pt x="115" y="1273"/>
                  </a:cubicBezTo>
                  <a:close/>
                  <a:moveTo>
                    <a:pt x="427" y="1331"/>
                  </a:moveTo>
                  <a:cubicBezTo>
                    <a:pt x="427" y="1327"/>
                    <a:pt x="436" y="1326"/>
                    <a:pt x="430" y="1323"/>
                  </a:cubicBezTo>
                  <a:cubicBezTo>
                    <a:pt x="422" y="1329"/>
                    <a:pt x="427" y="1338"/>
                    <a:pt x="427" y="1331"/>
                  </a:cubicBezTo>
                  <a:close/>
                  <a:moveTo>
                    <a:pt x="402" y="1371"/>
                  </a:moveTo>
                  <a:cubicBezTo>
                    <a:pt x="394" y="1377"/>
                    <a:pt x="392" y="1390"/>
                    <a:pt x="385" y="1396"/>
                  </a:cubicBezTo>
                  <a:cubicBezTo>
                    <a:pt x="374" y="1414"/>
                    <a:pt x="363" y="1432"/>
                    <a:pt x="357" y="1454"/>
                  </a:cubicBezTo>
                  <a:cubicBezTo>
                    <a:pt x="353" y="1459"/>
                    <a:pt x="347" y="1461"/>
                    <a:pt x="347" y="1469"/>
                  </a:cubicBezTo>
                  <a:cubicBezTo>
                    <a:pt x="342" y="1473"/>
                    <a:pt x="341" y="1480"/>
                    <a:pt x="337" y="1485"/>
                  </a:cubicBezTo>
                  <a:cubicBezTo>
                    <a:pt x="333" y="1498"/>
                    <a:pt x="325" y="1508"/>
                    <a:pt x="322" y="1522"/>
                  </a:cubicBezTo>
                  <a:cubicBezTo>
                    <a:pt x="321" y="1526"/>
                    <a:pt x="319" y="1527"/>
                    <a:pt x="322" y="1530"/>
                  </a:cubicBezTo>
                  <a:cubicBezTo>
                    <a:pt x="319" y="1531"/>
                    <a:pt x="317" y="1533"/>
                    <a:pt x="317" y="1537"/>
                  </a:cubicBezTo>
                  <a:cubicBezTo>
                    <a:pt x="313" y="1542"/>
                    <a:pt x="314" y="1551"/>
                    <a:pt x="309" y="1555"/>
                  </a:cubicBezTo>
                  <a:cubicBezTo>
                    <a:pt x="307" y="1561"/>
                    <a:pt x="308" y="1570"/>
                    <a:pt x="304" y="1575"/>
                  </a:cubicBezTo>
                  <a:cubicBezTo>
                    <a:pt x="303" y="1580"/>
                    <a:pt x="298" y="1594"/>
                    <a:pt x="304" y="1598"/>
                  </a:cubicBezTo>
                  <a:cubicBezTo>
                    <a:pt x="320" y="1574"/>
                    <a:pt x="321" y="1536"/>
                    <a:pt x="337" y="1512"/>
                  </a:cubicBezTo>
                  <a:cubicBezTo>
                    <a:pt x="341" y="1497"/>
                    <a:pt x="349" y="1486"/>
                    <a:pt x="354" y="1472"/>
                  </a:cubicBezTo>
                  <a:cubicBezTo>
                    <a:pt x="359" y="1472"/>
                    <a:pt x="356" y="1463"/>
                    <a:pt x="359" y="1462"/>
                  </a:cubicBezTo>
                  <a:cubicBezTo>
                    <a:pt x="361" y="1458"/>
                    <a:pt x="363" y="1456"/>
                    <a:pt x="365" y="1452"/>
                  </a:cubicBezTo>
                  <a:cubicBezTo>
                    <a:pt x="369" y="1446"/>
                    <a:pt x="371" y="1438"/>
                    <a:pt x="372" y="1429"/>
                  </a:cubicBezTo>
                  <a:cubicBezTo>
                    <a:pt x="377" y="1429"/>
                    <a:pt x="374" y="1421"/>
                    <a:pt x="380" y="1422"/>
                  </a:cubicBezTo>
                  <a:cubicBezTo>
                    <a:pt x="381" y="1417"/>
                    <a:pt x="381" y="1411"/>
                    <a:pt x="385" y="1409"/>
                  </a:cubicBezTo>
                  <a:cubicBezTo>
                    <a:pt x="388" y="1401"/>
                    <a:pt x="392" y="1393"/>
                    <a:pt x="395" y="1384"/>
                  </a:cubicBezTo>
                  <a:cubicBezTo>
                    <a:pt x="401" y="1379"/>
                    <a:pt x="404" y="1371"/>
                    <a:pt x="407" y="1364"/>
                  </a:cubicBezTo>
                  <a:cubicBezTo>
                    <a:pt x="411" y="1361"/>
                    <a:pt x="412" y="1357"/>
                    <a:pt x="415" y="1354"/>
                  </a:cubicBezTo>
                  <a:cubicBezTo>
                    <a:pt x="414" y="1350"/>
                    <a:pt x="423" y="1344"/>
                    <a:pt x="417" y="1344"/>
                  </a:cubicBezTo>
                  <a:cubicBezTo>
                    <a:pt x="414" y="1355"/>
                    <a:pt x="403" y="1358"/>
                    <a:pt x="402" y="1371"/>
                  </a:cubicBezTo>
                  <a:close/>
                  <a:moveTo>
                    <a:pt x="483" y="1406"/>
                  </a:moveTo>
                  <a:cubicBezTo>
                    <a:pt x="475" y="1408"/>
                    <a:pt x="479" y="1423"/>
                    <a:pt x="470" y="1424"/>
                  </a:cubicBezTo>
                  <a:cubicBezTo>
                    <a:pt x="466" y="1429"/>
                    <a:pt x="467" y="1440"/>
                    <a:pt x="460" y="1442"/>
                  </a:cubicBezTo>
                  <a:cubicBezTo>
                    <a:pt x="460" y="1452"/>
                    <a:pt x="454" y="1456"/>
                    <a:pt x="450" y="1462"/>
                  </a:cubicBezTo>
                  <a:cubicBezTo>
                    <a:pt x="449" y="1483"/>
                    <a:pt x="435" y="1492"/>
                    <a:pt x="433" y="1512"/>
                  </a:cubicBezTo>
                  <a:cubicBezTo>
                    <a:pt x="425" y="1516"/>
                    <a:pt x="426" y="1527"/>
                    <a:pt x="422" y="1535"/>
                  </a:cubicBezTo>
                  <a:cubicBezTo>
                    <a:pt x="425" y="1543"/>
                    <a:pt x="419" y="1543"/>
                    <a:pt x="417" y="1547"/>
                  </a:cubicBezTo>
                  <a:cubicBezTo>
                    <a:pt x="425" y="1550"/>
                    <a:pt x="412" y="1551"/>
                    <a:pt x="415" y="1557"/>
                  </a:cubicBezTo>
                  <a:cubicBezTo>
                    <a:pt x="410" y="1558"/>
                    <a:pt x="413" y="1566"/>
                    <a:pt x="410" y="1568"/>
                  </a:cubicBezTo>
                  <a:cubicBezTo>
                    <a:pt x="412" y="1575"/>
                    <a:pt x="403" y="1572"/>
                    <a:pt x="405" y="1580"/>
                  </a:cubicBezTo>
                  <a:cubicBezTo>
                    <a:pt x="402" y="1583"/>
                    <a:pt x="402" y="1589"/>
                    <a:pt x="400" y="1593"/>
                  </a:cubicBezTo>
                  <a:cubicBezTo>
                    <a:pt x="398" y="1597"/>
                    <a:pt x="399" y="1603"/>
                    <a:pt x="395" y="1605"/>
                  </a:cubicBezTo>
                  <a:cubicBezTo>
                    <a:pt x="395" y="1616"/>
                    <a:pt x="389" y="1621"/>
                    <a:pt x="387" y="1630"/>
                  </a:cubicBezTo>
                  <a:cubicBezTo>
                    <a:pt x="386" y="1635"/>
                    <a:pt x="386" y="1641"/>
                    <a:pt x="382" y="1643"/>
                  </a:cubicBezTo>
                  <a:cubicBezTo>
                    <a:pt x="384" y="1648"/>
                    <a:pt x="375" y="1654"/>
                    <a:pt x="382" y="1656"/>
                  </a:cubicBezTo>
                  <a:cubicBezTo>
                    <a:pt x="386" y="1646"/>
                    <a:pt x="390" y="1637"/>
                    <a:pt x="395" y="1628"/>
                  </a:cubicBezTo>
                  <a:cubicBezTo>
                    <a:pt x="397" y="1623"/>
                    <a:pt x="401" y="1621"/>
                    <a:pt x="402" y="1615"/>
                  </a:cubicBezTo>
                  <a:cubicBezTo>
                    <a:pt x="402" y="1608"/>
                    <a:pt x="410" y="1608"/>
                    <a:pt x="407" y="1598"/>
                  </a:cubicBezTo>
                  <a:cubicBezTo>
                    <a:pt x="417" y="1594"/>
                    <a:pt x="412" y="1576"/>
                    <a:pt x="422" y="1573"/>
                  </a:cubicBezTo>
                  <a:cubicBezTo>
                    <a:pt x="425" y="1568"/>
                    <a:pt x="422" y="1559"/>
                    <a:pt x="430" y="1560"/>
                  </a:cubicBezTo>
                  <a:cubicBezTo>
                    <a:pt x="430" y="1552"/>
                    <a:pt x="430" y="1545"/>
                    <a:pt x="438" y="1545"/>
                  </a:cubicBezTo>
                  <a:cubicBezTo>
                    <a:pt x="436" y="1537"/>
                    <a:pt x="439" y="1533"/>
                    <a:pt x="440" y="1527"/>
                  </a:cubicBezTo>
                  <a:cubicBezTo>
                    <a:pt x="446" y="1526"/>
                    <a:pt x="443" y="1516"/>
                    <a:pt x="448" y="1515"/>
                  </a:cubicBezTo>
                  <a:cubicBezTo>
                    <a:pt x="450" y="1503"/>
                    <a:pt x="457" y="1495"/>
                    <a:pt x="460" y="1484"/>
                  </a:cubicBezTo>
                  <a:cubicBezTo>
                    <a:pt x="465" y="1483"/>
                    <a:pt x="462" y="1473"/>
                    <a:pt x="468" y="1472"/>
                  </a:cubicBezTo>
                  <a:cubicBezTo>
                    <a:pt x="469" y="1465"/>
                    <a:pt x="471" y="1460"/>
                    <a:pt x="475" y="1457"/>
                  </a:cubicBezTo>
                  <a:cubicBezTo>
                    <a:pt x="478" y="1446"/>
                    <a:pt x="485" y="1438"/>
                    <a:pt x="488" y="1427"/>
                  </a:cubicBezTo>
                  <a:cubicBezTo>
                    <a:pt x="492" y="1421"/>
                    <a:pt x="490" y="1410"/>
                    <a:pt x="493" y="1404"/>
                  </a:cubicBezTo>
                  <a:cubicBezTo>
                    <a:pt x="491" y="1399"/>
                    <a:pt x="496" y="1387"/>
                    <a:pt x="490" y="1386"/>
                  </a:cubicBezTo>
                  <a:cubicBezTo>
                    <a:pt x="490" y="1395"/>
                    <a:pt x="483" y="1398"/>
                    <a:pt x="483" y="1406"/>
                  </a:cubicBezTo>
                  <a:close/>
                  <a:moveTo>
                    <a:pt x="415" y="1444"/>
                  </a:moveTo>
                  <a:cubicBezTo>
                    <a:pt x="417" y="1454"/>
                    <a:pt x="421" y="1430"/>
                    <a:pt x="417" y="1439"/>
                  </a:cubicBezTo>
                  <a:cubicBezTo>
                    <a:pt x="417" y="1441"/>
                    <a:pt x="414" y="1440"/>
                    <a:pt x="415" y="1444"/>
                  </a:cubicBezTo>
                  <a:close/>
                  <a:moveTo>
                    <a:pt x="402" y="1477"/>
                  </a:moveTo>
                  <a:cubicBezTo>
                    <a:pt x="397" y="1479"/>
                    <a:pt x="396" y="1484"/>
                    <a:pt x="395" y="1490"/>
                  </a:cubicBezTo>
                  <a:cubicBezTo>
                    <a:pt x="400" y="1488"/>
                    <a:pt x="398" y="1478"/>
                    <a:pt x="405" y="1477"/>
                  </a:cubicBezTo>
                  <a:cubicBezTo>
                    <a:pt x="403" y="1470"/>
                    <a:pt x="408" y="1470"/>
                    <a:pt x="407" y="1464"/>
                  </a:cubicBezTo>
                  <a:cubicBezTo>
                    <a:pt x="409" y="1464"/>
                    <a:pt x="410" y="1462"/>
                    <a:pt x="410" y="1459"/>
                  </a:cubicBezTo>
                  <a:cubicBezTo>
                    <a:pt x="410" y="1456"/>
                    <a:pt x="413" y="1455"/>
                    <a:pt x="410" y="1454"/>
                  </a:cubicBezTo>
                  <a:cubicBezTo>
                    <a:pt x="407" y="1461"/>
                    <a:pt x="402" y="1467"/>
                    <a:pt x="402" y="1477"/>
                  </a:cubicBezTo>
                  <a:close/>
                  <a:moveTo>
                    <a:pt x="470" y="1484"/>
                  </a:moveTo>
                  <a:cubicBezTo>
                    <a:pt x="470" y="1498"/>
                    <a:pt x="461" y="1502"/>
                    <a:pt x="460" y="1515"/>
                  </a:cubicBezTo>
                  <a:cubicBezTo>
                    <a:pt x="437" y="1576"/>
                    <a:pt x="431" y="1575"/>
                    <a:pt x="430" y="1580"/>
                  </a:cubicBezTo>
                  <a:cubicBezTo>
                    <a:pt x="411" y="1635"/>
                    <a:pt x="400" y="1637"/>
                    <a:pt x="397" y="1648"/>
                  </a:cubicBezTo>
                  <a:cubicBezTo>
                    <a:pt x="386" y="1684"/>
                    <a:pt x="383" y="1687"/>
                    <a:pt x="382" y="1693"/>
                  </a:cubicBezTo>
                  <a:cubicBezTo>
                    <a:pt x="371" y="1730"/>
                    <a:pt x="371" y="1738"/>
                    <a:pt x="367" y="1741"/>
                  </a:cubicBezTo>
                  <a:cubicBezTo>
                    <a:pt x="361" y="1788"/>
                    <a:pt x="357" y="1799"/>
                    <a:pt x="362" y="1799"/>
                  </a:cubicBezTo>
                  <a:cubicBezTo>
                    <a:pt x="379" y="1754"/>
                    <a:pt x="376" y="1747"/>
                    <a:pt x="380" y="1746"/>
                  </a:cubicBezTo>
                  <a:cubicBezTo>
                    <a:pt x="391" y="1697"/>
                    <a:pt x="403" y="1699"/>
                    <a:pt x="400" y="1688"/>
                  </a:cubicBezTo>
                  <a:cubicBezTo>
                    <a:pt x="430" y="1632"/>
                    <a:pt x="427" y="1621"/>
                    <a:pt x="433" y="1618"/>
                  </a:cubicBezTo>
                  <a:cubicBezTo>
                    <a:pt x="459" y="1557"/>
                    <a:pt x="462" y="1552"/>
                    <a:pt x="465" y="1547"/>
                  </a:cubicBezTo>
                  <a:cubicBezTo>
                    <a:pt x="482" y="1493"/>
                    <a:pt x="477" y="1484"/>
                    <a:pt x="483" y="1484"/>
                  </a:cubicBezTo>
                  <a:close/>
                  <a:moveTo>
                    <a:pt x="166" y="1522"/>
                  </a:moveTo>
                  <a:cubicBezTo>
                    <a:pt x="169" y="1533"/>
                    <a:pt x="177" y="1538"/>
                    <a:pt x="181" y="1548"/>
                  </a:cubicBezTo>
                  <a:cubicBezTo>
                    <a:pt x="187" y="1555"/>
                    <a:pt x="191" y="1564"/>
                    <a:pt x="199" y="1570"/>
                  </a:cubicBezTo>
                  <a:cubicBezTo>
                    <a:pt x="197" y="1578"/>
                    <a:pt x="205" y="1577"/>
                    <a:pt x="206" y="1583"/>
                  </a:cubicBezTo>
                  <a:cubicBezTo>
                    <a:pt x="209" y="1583"/>
                    <a:pt x="208" y="1587"/>
                    <a:pt x="211" y="1588"/>
                  </a:cubicBezTo>
                  <a:cubicBezTo>
                    <a:pt x="210" y="1593"/>
                    <a:pt x="215" y="1593"/>
                    <a:pt x="216" y="1595"/>
                  </a:cubicBezTo>
                  <a:cubicBezTo>
                    <a:pt x="220" y="1604"/>
                    <a:pt x="227" y="1611"/>
                    <a:pt x="234" y="1618"/>
                  </a:cubicBezTo>
                  <a:cubicBezTo>
                    <a:pt x="240" y="1626"/>
                    <a:pt x="247" y="1633"/>
                    <a:pt x="254" y="1641"/>
                  </a:cubicBezTo>
                  <a:cubicBezTo>
                    <a:pt x="260" y="1648"/>
                    <a:pt x="265" y="1657"/>
                    <a:pt x="272" y="1663"/>
                  </a:cubicBezTo>
                  <a:cubicBezTo>
                    <a:pt x="275" y="1667"/>
                    <a:pt x="278" y="1670"/>
                    <a:pt x="282" y="1673"/>
                  </a:cubicBezTo>
                  <a:cubicBezTo>
                    <a:pt x="283" y="1680"/>
                    <a:pt x="288" y="1682"/>
                    <a:pt x="292" y="1686"/>
                  </a:cubicBezTo>
                  <a:cubicBezTo>
                    <a:pt x="293" y="1695"/>
                    <a:pt x="300" y="1698"/>
                    <a:pt x="302" y="1706"/>
                  </a:cubicBezTo>
                  <a:cubicBezTo>
                    <a:pt x="309" y="1709"/>
                    <a:pt x="309" y="1719"/>
                    <a:pt x="317" y="1721"/>
                  </a:cubicBezTo>
                  <a:cubicBezTo>
                    <a:pt x="317" y="1715"/>
                    <a:pt x="317" y="1709"/>
                    <a:pt x="314" y="1706"/>
                  </a:cubicBezTo>
                  <a:cubicBezTo>
                    <a:pt x="311" y="1705"/>
                    <a:pt x="313" y="1703"/>
                    <a:pt x="314" y="1701"/>
                  </a:cubicBezTo>
                  <a:cubicBezTo>
                    <a:pt x="311" y="1701"/>
                    <a:pt x="312" y="1697"/>
                    <a:pt x="312" y="1693"/>
                  </a:cubicBezTo>
                  <a:cubicBezTo>
                    <a:pt x="303" y="1693"/>
                    <a:pt x="307" y="1680"/>
                    <a:pt x="299" y="1678"/>
                  </a:cubicBezTo>
                  <a:cubicBezTo>
                    <a:pt x="302" y="1670"/>
                    <a:pt x="291" y="1676"/>
                    <a:pt x="294" y="1668"/>
                  </a:cubicBezTo>
                  <a:cubicBezTo>
                    <a:pt x="293" y="1665"/>
                    <a:pt x="290" y="1662"/>
                    <a:pt x="287" y="1661"/>
                  </a:cubicBezTo>
                  <a:cubicBezTo>
                    <a:pt x="281" y="1646"/>
                    <a:pt x="269" y="1638"/>
                    <a:pt x="264" y="1623"/>
                  </a:cubicBezTo>
                  <a:cubicBezTo>
                    <a:pt x="254" y="1618"/>
                    <a:pt x="249" y="1607"/>
                    <a:pt x="241" y="1600"/>
                  </a:cubicBezTo>
                  <a:cubicBezTo>
                    <a:pt x="239" y="1595"/>
                    <a:pt x="235" y="1592"/>
                    <a:pt x="231" y="1588"/>
                  </a:cubicBezTo>
                  <a:cubicBezTo>
                    <a:pt x="227" y="1584"/>
                    <a:pt x="225" y="1577"/>
                    <a:pt x="219" y="1575"/>
                  </a:cubicBezTo>
                  <a:cubicBezTo>
                    <a:pt x="215" y="1571"/>
                    <a:pt x="210" y="1568"/>
                    <a:pt x="209" y="1563"/>
                  </a:cubicBezTo>
                  <a:cubicBezTo>
                    <a:pt x="203" y="1560"/>
                    <a:pt x="199" y="1555"/>
                    <a:pt x="196" y="1550"/>
                  </a:cubicBezTo>
                  <a:cubicBezTo>
                    <a:pt x="188" y="1542"/>
                    <a:pt x="180" y="1534"/>
                    <a:pt x="171" y="1527"/>
                  </a:cubicBezTo>
                  <a:cubicBezTo>
                    <a:pt x="171" y="1518"/>
                    <a:pt x="164" y="1516"/>
                    <a:pt x="161" y="1510"/>
                  </a:cubicBezTo>
                  <a:cubicBezTo>
                    <a:pt x="160" y="1506"/>
                    <a:pt x="157" y="1506"/>
                    <a:pt x="156" y="1502"/>
                  </a:cubicBezTo>
                  <a:cubicBezTo>
                    <a:pt x="152" y="1504"/>
                    <a:pt x="150" y="1492"/>
                    <a:pt x="148" y="1500"/>
                  </a:cubicBezTo>
                  <a:cubicBezTo>
                    <a:pt x="157" y="1504"/>
                    <a:pt x="157" y="1518"/>
                    <a:pt x="166" y="1522"/>
                  </a:cubicBezTo>
                  <a:close/>
                  <a:moveTo>
                    <a:pt x="465" y="1575"/>
                  </a:moveTo>
                  <a:cubicBezTo>
                    <a:pt x="457" y="1583"/>
                    <a:pt x="454" y="1598"/>
                    <a:pt x="448" y="1608"/>
                  </a:cubicBezTo>
                  <a:cubicBezTo>
                    <a:pt x="445" y="1613"/>
                    <a:pt x="444" y="1620"/>
                    <a:pt x="440" y="1625"/>
                  </a:cubicBezTo>
                  <a:cubicBezTo>
                    <a:pt x="437" y="1631"/>
                    <a:pt x="440" y="1642"/>
                    <a:pt x="433" y="1643"/>
                  </a:cubicBezTo>
                  <a:cubicBezTo>
                    <a:pt x="434" y="1653"/>
                    <a:pt x="426" y="1653"/>
                    <a:pt x="425" y="1661"/>
                  </a:cubicBezTo>
                  <a:cubicBezTo>
                    <a:pt x="424" y="1668"/>
                    <a:pt x="419" y="1671"/>
                    <a:pt x="418" y="1678"/>
                  </a:cubicBezTo>
                  <a:cubicBezTo>
                    <a:pt x="414" y="1683"/>
                    <a:pt x="413" y="1690"/>
                    <a:pt x="410" y="1696"/>
                  </a:cubicBezTo>
                  <a:cubicBezTo>
                    <a:pt x="405" y="1696"/>
                    <a:pt x="411" y="1700"/>
                    <a:pt x="407" y="1701"/>
                  </a:cubicBezTo>
                  <a:cubicBezTo>
                    <a:pt x="407" y="1704"/>
                    <a:pt x="404" y="1705"/>
                    <a:pt x="407" y="1708"/>
                  </a:cubicBezTo>
                  <a:cubicBezTo>
                    <a:pt x="401" y="1710"/>
                    <a:pt x="401" y="1719"/>
                    <a:pt x="397" y="1724"/>
                  </a:cubicBezTo>
                  <a:cubicBezTo>
                    <a:pt x="399" y="1734"/>
                    <a:pt x="389" y="1732"/>
                    <a:pt x="392" y="1744"/>
                  </a:cubicBezTo>
                  <a:cubicBezTo>
                    <a:pt x="390" y="1749"/>
                    <a:pt x="388" y="1756"/>
                    <a:pt x="385" y="1761"/>
                  </a:cubicBezTo>
                  <a:cubicBezTo>
                    <a:pt x="384" y="1766"/>
                    <a:pt x="376" y="1775"/>
                    <a:pt x="382" y="1779"/>
                  </a:cubicBezTo>
                  <a:cubicBezTo>
                    <a:pt x="389" y="1772"/>
                    <a:pt x="391" y="1760"/>
                    <a:pt x="395" y="1751"/>
                  </a:cubicBezTo>
                  <a:cubicBezTo>
                    <a:pt x="398" y="1741"/>
                    <a:pt x="404" y="1733"/>
                    <a:pt x="405" y="1721"/>
                  </a:cubicBezTo>
                  <a:cubicBezTo>
                    <a:pt x="421" y="1704"/>
                    <a:pt x="428" y="1679"/>
                    <a:pt x="443" y="1661"/>
                  </a:cubicBezTo>
                  <a:cubicBezTo>
                    <a:pt x="445" y="1648"/>
                    <a:pt x="451" y="1638"/>
                    <a:pt x="455" y="1628"/>
                  </a:cubicBezTo>
                  <a:cubicBezTo>
                    <a:pt x="459" y="1624"/>
                    <a:pt x="459" y="1616"/>
                    <a:pt x="463" y="1613"/>
                  </a:cubicBezTo>
                  <a:cubicBezTo>
                    <a:pt x="463" y="1609"/>
                    <a:pt x="464" y="1607"/>
                    <a:pt x="465" y="1605"/>
                  </a:cubicBezTo>
                  <a:cubicBezTo>
                    <a:pt x="469" y="1605"/>
                    <a:pt x="467" y="1598"/>
                    <a:pt x="470" y="1598"/>
                  </a:cubicBezTo>
                  <a:cubicBezTo>
                    <a:pt x="468" y="1588"/>
                    <a:pt x="478" y="1590"/>
                    <a:pt x="475" y="1580"/>
                  </a:cubicBezTo>
                  <a:cubicBezTo>
                    <a:pt x="476" y="1573"/>
                    <a:pt x="480" y="1570"/>
                    <a:pt x="480" y="1562"/>
                  </a:cubicBezTo>
                  <a:cubicBezTo>
                    <a:pt x="485" y="1559"/>
                    <a:pt x="482" y="1549"/>
                    <a:pt x="485" y="1545"/>
                  </a:cubicBezTo>
                  <a:cubicBezTo>
                    <a:pt x="489" y="1540"/>
                    <a:pt x="488" y="1530"/>
                    <a:pt x="490" y="1525"/>
                  </a:cubicBezTo>
                  <a:cubicBezTo>
                    <a:pt x="490" y="1522"/>
                    <a:pt x="490" y="1520"/>
                    <a:pt x="490" y="1517"/>
                  </a:cubicBezTo>
                  <a:cubicBezTo>
                    <a:pt x="490" y="1514"/>
                    <a:pt x="494" y="1513"/>
                    <a:pt x="490" y="1512"/>
                  </a:cubicBezTo>
                  <a:cubicBezTo>
                    <a:pt x="489" y="1508"/>
                    <a:pt x="493" y="1497"/>
                    <a:pt x="488" y="1497"/>
                  </a:cubicBezTo>
                  <a:cubicBezTo>
                    <a:pt x="484" y="1527"/>
                    <a:pt x="474" y="1550"/>
                    <a:pt x="465" y="1575"/>
                  </a:cubicBezTo>
                  <a:close/>
                  <a:moveTo>
                    <a:pt x="337" y="1693"/>
                  </a:moveTo>
                  <a:cubicBezTo>
                    <a:pt x="336" y="1689"/>
                    <a:pt x="340" y="1688"/>
                    <a:pt x="340" y="1683"/>
                  </a:cubicBezTo>
                  <a:cubicBezTo>
                    <a:pt x="340" y="1680"/>
                    <a:pt x="339" y="1674"/>
                    <a:pt x="342" y="1673"/>
                  </a:cubicBezTo>
                  <a:cubicBezTo>
                    <a:pt x="337" y="1663"/>
                    <a:pt x="347" y="1649"/>
                    <a:pt x="347" y="1636"/>
                  </a:cubicBezTo>
                  <a:cubicBezTo>
                    <a:pt x="350" y="1635"/>
                    <a:pt x="350" y="1632"/>
                    <a:pt x="350" y="1628"/>
                  </a:cubicBezTo>
                  <a:cubicBezTo>
                    <a:pt x="350" y="1625"/>
                    <a:pt x="353" y="1623"/>
                    <a:pt x="352" y="1618"/>
                  </a:cubicBezTo>
                  <a:cubicBezTo>
                    <a:pt x="356" y="1613"/>
                    <a:pt x="354" y="1604"/>
                    <a:pt x="357" y="1598"/>
                  </a:cubicBezTo>
                  <a:cubicBezTo>
                    <a:pt x="359" y="1591"/>
                    <a:pt x="360" y="1584"/>
                    <a:pt x="365" y="1580"/>
                  </a:cubicBezTo>
                  <a:cubicBezTo>
                    <a:pt x="369" y="1576"/>
                    <a:pt x="366" y="1565"/>
                    <a:pt x="372" y="1563"/>
                  </a:cubicBezTo>
                  <a:cubicBezTo>
                    <a:pt x="372" y="1557"/>
                    <a:pt x="372" y="1552"/>
                    <a:pt x="372" y="1547"/>
                  </a:cubicBezTo>
                  <a:cubicBezTo>
                    <a:pt x="380" y="1547"/>
                    <a:pt x="370" y="1537"/>
                    <a:pt x="372" y="1547"/>
                  </a:cubicBezTo>
                  <a:cubicBezTo>
                    <a:pt x="368" y="1551"/>
                    <a:pt x="369" y="1560"/>
                    <a:pt x="365" y="1563"/>
                  </a:cubicBezTo>
                  <a:cubicBezTo>
                    <a:pt x="363" y="1568"/>
                    <a:pt x="362" y="1575"/>
                    <a:pt x="360" y="1580"/>
                  </a:cubicBezTo>
                  <a:cubicBezTo>
                    <a:pt x="356" y="1584"/>
                    <a:pt x="357" y="1593"/>
                    <a:pt x="352" y="1595"/>
                  </a:cubicBezTo>
                  <a:cubicBezTo>
                    <a:pt x="352" y="1604"/>
                    <a:pt x="349" y="1609"/>
                    <a:pt x="345" y="1613"/>
                  </a:cubicBezTo>
                  <a:cubicBezTo>
                    <a:pt x="342" y="1647"/>
                    <a:pt x="327" y="1669"/>
                    <a:pt x="330" y="1708"/>
                  </a:cubicBezTo>
                  <a:cubicBezTo>
                    <a:pt x="338" y="1709"/>
                    <a:pt x="334" y="1698"/>
                    <a:pt x="337" y="1693"/>
                  </a:cubicBezTo>
                  <a:close/>
                  <a:moveTo>
                    <a:pt x="299" y="1623"/>
                  </a:moveTo>
                  <a:cubicBezTo>
                    <a:pt x="299" y="1618"/>
                    <a:pt x="306" y="1608"/>
                    <a:pt x="299" y="1605"/>
                  </a:cubicBezTo>
                  <a:cubicBezTo>
                    <a:pt x="299" y="1610"/>
                    <a:pt x="292" y="1620"/>
                    <a:pt x="299" y="1623"/>
                  </a:cubicBezTo>
                  <a:close/>
                  <a:moveTo>
                    <a:pt x="372" y="1678"/>
                  </a:moveTo>
                  <a:cubicBezTo>
                    <a:pt x="367" y="1681"/>
                    <a:pt x="371" y="1692"/>
                    <a:pt x="365" y="1693"/>
                  </a:cubicBezTo>
                  <a:cubicBezTo>
                    <a:pt x="366" y="1702"/>
                    <a:pt x="363" y="1705"/>
                    <a:pt x="362" y="1711"/>
                  </a:cubicBezTo>
                  <a:cubicBezTo>
                    <a:pt x="363" y="1715"/>
                    <a:pt x="355" y="1724"/>
                    <a:pt x="362" y="1726"/>
                  </a:cubicBezTo>
                  <a:cubicBezTo>
                    <a:pt x="367" y="1717"/>
                    <a:pt x="364" y="1701"/>
                    <a:pt x="372" y="1696"/>
                  </a:cubicBezTo>
                  <a:cubicBezTo>
                    <a:pt x="370" y="1686"/>
                    <a:pt x="375" y="1684"/>
                    <a:pt x="375" y="1676"/>
                  </a:cubicBezTo>
                  <a:cubicBezTo>
                    <a:pt x="375" y="1672"/>
                    <a:pt x="386" y="1660"/>
                    <a:pt x="375" y="1661"/>
                  </a:cubicBezTo>
                  <a:cubicBezTo>
                    <a:pt x="376" y="1669"/>
                    <a:pt x="370" y="1670"/>
                    <a:pt x="372" y="1678"/>
                  </a:cubicBezTo>
                  <a:close/>
                  <a:moveTo>
                    <a:pt x="352" y="1776"/>
                  </a:moveTo>
                  <a:cubicBezTo>
                    <a:pt x="352" y="1773"/>
                    <a:pt x="352" y="1770"/>
                    <a:pt x="352" y="1766"/>
                  </a:cubicBezTo>
                  <a:cubicBezTo>
                    <a:pt x="350" y="1766"/>
                    <a:pt x="347" y="1766"/>
                    <a:pt x="345" y="1766"/>
                  </a:cubicBezTo>
                  <a:cubicBezTo>
                    <a:pt x="346" y="1771"/>
                    <a:pt x="346" y="1777"/>
                    <a:pt x="352" y="1776"/>
                  </a:cubicBezTo>
                  <a:close/>
                  <a:moveTo>
                    <a:pt x="375" y="1804"/>
                  </a:moveTo>
                  <a:cubicBezTo>
                    <a:pt x="376" y="1799"/>
                    <a:pt x="383" y="1788"/>
                    <a:pt x="377" y="1784"/>
                  </a:cubicBezTo>
                  <a:cubicBezTo>
                    <a:pt x="378" y="1791"/>
                    <a:pt x="368" y="1799"/>
                    <a:pt x="375" y="1804"/>
                  </a:cubicBezTo>
                  <a:close/>
                </a:path>
              </a:pathLst>
            </a:custGeom>
            <a:solidFill>
              <a:schemeClr val="accent3">
                <a:lumMod val="60000"/>
                <a:lumOff val="40000"/>
                <a:alpha val="75000"/>
              </a:schemeClr>
            </a:solidFill>
            <a:ln>
              <a:noFill/>
            </a:ln>
          </p:spPr>
        </p:sp>
        <p:sp>
          <p:nvSpPr>
            <p:cNvPr id="7" name="Freeform 15"/>
            <p:cNvSpPr>
              <a:spLocks noEditPoints="1"/>
            </p:cNvSpPr>
            <p:nvPr/>
          </p:nvSpPr>
          <p:spPr bwMode="auto">
            <a:xfrm>
              <a:off x="1133752" y="1810138"/>
              <a:ext cx="2762941" cy="4746626"/>
            </a:xfrm>
            <a:custGeom>
              <a:avLst/>
              <a:gdLst/>
              <a:ahLst/>
              <a:cxnLst/>
              <a:rect l="0" t="0" r="r" b="b"/>
              <a:pathLst>
                <a:path w="869" h="1495">
                  <a:moveTo>
                    <a:pt x="865" y="156"/>
                  </a:moveTo>
                  <a:cubicBezTo>
                    <a:pt x="856" y="165"/>
                    <a:pt x="851" y="173"/>
                    <a:pt x="844" y="182"/>
                  </a:cubicBezTo>
                  <a:cubicBezTo>
                    <a:pt x="804" y="216"/>
                    <a:pt x="802" y="216"/>
                    <a:pt x="800" y="216"/>
                  </a:cubicBezTo>
                  <a:cubicBezTo>
                    <a:pt x="775" y="232"/>
                    <a:pt x="768" y="237"/>
                    <a:pt x="760" y="239"/>
                  </a:cubicBezTo>
                  <a:cubicBezTo>
                    <a:pt x="699" y="279"/>
                    <a:pt x="696" y="275"/>
                    <a:pt x="693" y="278"/>
                  </a:cubicBezTo>
                  <a:cubicBezTo>
                    <a:pt x="706" y="270"/>
                    <a:pt x="707" y="266"/>
                    <a:pt x="714" y="263"/>
                  </a:cubicBezTo>
                  <a:cubicBezTo>
                    <a:pt x="766" y="230"/>
                    <a:pt x="774" y="225"/>
                    <a:pt x="782" y="219"/>
                  </a:cubicBezTo>
                  <a:cubicBezTo>
                    <a:pt x="830" y="181"/>
                    <a:pt x="830" y="177"/>
                    <a:pt x="834" y="174"/>
                  </a:cubicBezTo>
                  <a:cubicBezTo>
                    <a:pt x="831" y="170"/>
                    <a:pt x="831" y="178"/>
                    <a:pt x="827" y="175"/>
                  </a:cubicBezTo>
                  <a:cubicBezTo>
                    <a:pt x="792" y="205"/>
                    <a:pt x="784" y="209"/>
                    <a:pt x="783" y="213"/>
                  </a:cubicBezTo>
                  <a:cubicBezTo>
                    <a:pt x="763" y="227"/>
                    <a:pt x="760" y="223"/>
                    <a:pt x="757" y="227"/>
                  </a:cubicBezTo>
                  <a:cubicBezTo>
                    <a:pt x="776" y="212"/>
                    <a:pt x="774" y="208"/>
                    <a:pt x="780" y="206"/>
                  </a:cubicBezTo>
                  <a:cubicBezTo>
                    <a:pt x="824" y="164"/>
                    <a:pt x="830" y="160"/>
                    <a:pt x="833" y="155"/>
                  </a:cubicBezTo>
                  <a:cubicBezTo>
                    <a:pt x="806" y="176"/>
                    <a:pt x="797" y="184"/>
                    <a:pt x="788" y="193"/>
                  </a:cubicBezTo>
                  <a:cubicBezTo>
                    <a:pt x="731" y="226"/>
                    <a:pt x="724" y="237"/>
                    <a:pt x="720" y="234"/>
                  </a:cubicBezTo>
                  <a:cubicBezTo>
                    <a:pt x="766" y="194"/>
                    <a:pt x="786" y="180"/>
                    <a:pt x="803" y="159"/>
                  </a:cubicBezTo>
                  <a:cubicBezTo>
                    <a:pt x="785" y="170"/>
                    <a:pt x="775" y="180"/>
                    <a:pt x="763" y="188"/>
                  </a:cubicBezTo>
                  <a:cubicBezTo>
                    <a:pt x="736" y="208"/>
                    <a:pt x="735" y="202"/>
                    <a:pt x="737" y="200"/>
                  </a:cubicBezTo>
                  <a:cubicBezTo>
                    <a:pt x="749" y="181"/>
                    <a:pt x="754" y="177"/>
                    <a:pt x="756" y="172"/>
                  </a:cubicBezTo>
                  <a:cubicBezTo>
                    <a:pt x="787" y="134"/>
                    <a:pt x="791" y="136"/>
                    <a:pt x="790" y="130"/>
                  </a:cubicBezTo>
                  <a:cubicBezTo>
                    <a:pt x="769" y="150"/>
                    <a:pt x="765" y="152"/>
                    <a:pt x="766" y="155"/>
                  </a:cubicBezTo>
                  <a:cubicBezTo>
                    <a:pt x="746" y="174"/>
                    <a:pt x="746" y="170"/>
                    <a:pt x="746" y="169"/>
                  </a:cubicBezTo>
                  <a:cubicBezTo>
                    <a:pt x="748" y="164"/>
                    <a:pt x="752" y="160"/>
                    <a:pt x="752" y="160"/>
                  </a:cubicBezTo>
                  <a:cubicBezTo>
                    <a:pt x="764" y="139"/>
                    <a:pt x="770" y="129"/>
                    <a:pt x="777" y="119"/>
                  </a:cubicBezTo>
                  <a:cubicBezTo>
                    <a:pt x="800" y="82"/>
                    <a:pt x="812" y="81"/>
                    <a:pt x="808" y="77"/>
                  </a:cubicBezTo>
                  <a:cubicBezTo>
                    <a:pt x="770" y="123"/>
                    <a:pt x="765" y="125"/>
                    <a:pt x="763" y="127"/>
                  </a:cubicBezTo>
                  <a:cubicBezTo>
                    <a:pt x="747" y="156"/>
                    <a:pt x="743" y="161"/>
                    <a:pt x="740" y="166"/>
                  </a:cubicBezTo>
                  <a:cubicBezTo>
                    <a:pt x="744" y="144"/>
                    <a:pt x="749" y="134"/>
                    <a:pt x="753" y="124"/>
                  </a:cubicBezTo>
                  <a:cubicBezTo>
                    <a:pt x="782" y="79"/>
                    <a:pt x="781" y="77"/>
                    <a:pt x="784" y="75"/>
                  </a:cubicBezTo>
                  <a:cubicBezTo>
                    <a:pt x="769" y="89"/>
                    <a:pt x="765" y="92"/>
                    <a:pt x="765" y="96"/>
                  </a:cubicBezTo>
                  <a:cubicBezTo>
                    <a:pt x="728" y="162"/>
                    <a:pt x="722" y="177"/>
                    <a:pt x="718" y="191"/>
                  </a:cubicBezTo>
                  <a:cubicBezTo>
                    <a:pt x="710" y="205"/>
                    <a:pt x="719" y="210"/>
                    <a:pt x="712" y="213"/>
                  </a:cubicBezTo>
                  <a:cubicBezTo>
                    <a:pt x="703" y="240"/>
                    <a:pt x="708" y="247"/>
                    <a:pt x="697" y="251"/>
                  </a:cubicBezTo>
                  <a:cubicBezTo>
                    <a:pt x="699" y="232"/>
                    <a:pt x="702" y="230"/>
                    <a:pt x="701" y="228"/>
                  </a:cubicBezTo>
                  <a:cubicBezTo>
                    <a:pt x="714" y="177"/>
                    <a:pt x="714" y="170"/>
                    <a:pt x="714" y="162"/>
                  </a:cubicBezTo>
                  <a:cubicBezTo>
                    <a:pt x="735" y="103"/>
                    <a:pt x="740" y="88"/>
                    <a:pt x="749" y="73"/>
                  </a:cubicBezTo>
                  <a:cubicBezTo>
                    <a:pt x="757" y="53"/>
                    <a:pt x="753" y="62"/>
                    <a:pt x="744" y="70"/>
                  </a:cubicBezTo>
                  <a:cubicBezTo>
                    <a:pt x="727" y="107"/>
                    <a:pt x="722" y="112"/>
                    <a:pt x="722" y="118"/>
                  </a:cubicBezTo>
                  <a:cubicBezTo>
                    <a:pt x="706" y="172"/>
                    <a:pt x="705" y="175"/>
                    <a:pt x="703" y="177"/>
                  </a:cubicBezTo>
                  <a:cubicBezTo>
                    <a:pt x="696" y="206"/>
                    <a:pt x="696" y="209"/>
                    <a:pt x="696" y="212"/>
                  </a:cubicBezTo>
                  <a:cubicBezTo>
                    <a:pt x="687" y="247"/>
                    <a:pt x="685" y="253"/>
                    <a:pt x="684" y="260"/>
                  </a:cubicBezTo>
                  <a:cubicBezTo>
                    <a:pt x="671" y="275"/>
                    <a:pt x="673" y="272"/>
                    <a:pt x="677" y="270"/>
                  </a:cubicBezTo>
                  <a:cubicBezTo>
                    <a:pt x="682" y="240"/>
                    <a:pt x="681" y="234"/>
                    <a:pt x="684" y="229"/>
                  </a:cubicBezTo>
                  <a:cubicBezTo>
                    <a:pt x="694" y="189"/>
                    <a:pt x="690" y="182"/>
                    <a:pt x="693" y="177"/>
                  </a:cubicBezTo>
                  <a:cubicBezTo>
                    <a:pt x="706" y="119"/>
                    <a:pt x="707" y="113"/>
                    <a:pt x="709" y="107"/>
                  </a:cubicBezTo>
                  <a:cubicBezTo>
                    <a:pt x="721" y="64"/>
                    <a:pt x="727" y="59"/>
                    <a:pt x="729" y="53"/>
                  </a:cubicBezTo>
                  <a:cubicBezTo>
                    <a:pt x="751" y="15"/>
                    <a:pt x="760" y="13"/>
                    <a:pt x="759" y="10"/>
                  </a:cubicBezTo>
                  <a:cubicBezTo>
                    <a:pt x="752" y="12"/>
                    <a:pt x="750" y="14"/>
                    <a:pt x="749" y="17"/>
                  </a:cubicBezTo>
                  <a:cubicBezTo>
                    <a:pt x="722" y="50"/>
                    <a:pt x="719" y="46"/>
                    <a:pt x="715" y="51"/>
                  </a:cubicBezTo>
                  <a:cubicBezTo>
                    <a:pt x="696" y="86"/>
                    <a:pt x="689" y="94"/>
                    <a:pt x="687" y="103"/>
                  </a:cubicBezTo>
                  <a:cubicBezTo>
                    <a:pt x="667" y="145"/>
                    <a:pt x="670" y="146"/>
                    <a:pt x="670" y="148"/>
                  </a:cubicBezTo>
                  <a:cubicBezTo>
                    <a:pt x="662" y="166"/>
                    <a:pt x="660" y="175"/>
                    <a:pt x="659" y="185"/>
                  </a:cubicBezTo>
                  <a:cubicBezTo>
                    <a:pt x="655" y="217"/>
                    <a:pt x="655" y="222"/>
                    <a:pt x="653" y="226"/>
                  </a:cubicBezTo>
                  <a:cubicBezTo>
                    <a:pt x="646" y="259"/>
                    <a:pt x="650" y="265"/>
                    <a:pt x="650" y="270"/>
                  </a:cubicBezTo>
                  <a:cubicBezTo>
                    <a:pt x="632" y="316"/>
                    <a:pt x="637" y="319"/>
                    <a:pt x="630" y="321"/>
                  </a:cubicBezTo>
                  <a:cubicBezTo>
                    <a:pt x="630" y="285"/>
                    <a:pt x="633" y="283"/>
                    <a:pt x="633" y="280"/>
                  </a:cubicBezTo>
                  <a:cubicBezTo>
                    <a:pt x="637" y="248"/>
                    <a:pt x="637" y="243"/>
                    <a:pt x="639" y="238"/>
                  </a:cubicBezTo>
                  <a:cubicBezTo>
                    <a:pt x="639" y="222"/>
                    <a:pt x="641" y="220"/>
                    <a:pt x="641" y="217"/>
                  </a:cubicBezTo>
                  <a:cubicBezTo>
                    <a:pt x="649" y="175"/>
                    <a:pt x="652" y="166"/>
                    <a:pt x="654" y="157"/>
                  </a:cubicBezTo>
                  <a:cubicBezTo>
                    <a:pt x="673" y="112"/>
                    <a:pt x="670" y="107"/>
                    <a:pt x="677" y="103"/>
                  </a:cubicBezTo>
                  <a:cubicBezTo>
                    <a:pt x="690" y="65"/>
                    <a:pt x="699" y="63"/>
                    <a:pt x="694" y="59"/>
                  </a:cubicBezTo>
                  <a:cubicBezTo>
                    <a:pt x="663" y="118"/>
                    <a:pt x="658" y="124"/>
                    <a:pt x="654" y="130"/>
                  </a:cubicBezTo>
                  <a:cubicBezTo>
                    <a:pt x="644" y="160"/>
                    <a:pt x="640" y="163"/>
                    <a:pt x="644" y="166"/>
                  </a:cubicBezTo>
                  <a:cubicBezTo>
                    <a:pt x="632" y="198"/>
                    <a:pt x="638" y="202"/>
                    <a:pt x="632" y="204"/>
                  </a:cubicBezTo>
                  <a:cubicBezTo>
                    <a:pt x="630" y="226"/>
                    <a:pt x="628" y="229"/>
                    <a:pt x="630" y="233"/>
                  </a:cubicBezTo>
                  <a:cubicBezTo>
                    <a:pt x="624" y="286"/>
                    <a:pt x="621" y="292"/>
                    <a:pt x="621" y="298"/>
                  </a:cubicBezTo>
                  <a:cubicBezTo>
                    <a:pt x="622" y="314"/>
                    <a:pt x="617" y="316"/>
                    <a:pt x="621" y="318"/>
                  </a:cubicBezTo>
                  <a:cubicBezTo>
                    <a:pt x="615" y="341"/>
                    <a:pt x="613" y="344"/>
                    <a:pt x="612" y="347"/>
                  </a:cubicBezTo>
                  <a:cubicBezTo>
                    <a:pt x="610" y="337"/>
                    <a:pt x="612" y="332"/>
                    <a:pt x="615" y="327"/>
                  </a:cubicBezTo>
                  <a:cubicBezTo>
                    <a:pt x="612" y="290"/>
                    <a:pt x="621" y="286"/>
                    <a:pt x="616" y="280"/>
                  </a:cubicBezTo>
                  <a:cubicBezTo>
                    <a:pt x="615" y="259"/>
                    <a:pt x="621" y="255"/>
                    <a:pt x="620" y="250"/>
                  </a:cubicBezTo>
                  <a:cubicBezTo>
                    <a:pt x="624" y="201"/>
                    <a:pt x="625" y="198"/>
                    <a:pt x="626" y="196"/>
                  </a:cubicBezTo>
                  <a:cubicBezTo>
                    <a:pt x="635" y="171"/>
                    <a:pt x="633" y="168"/>
                    <a:pt x="634" y="166"/>
                  </a:cubicBezTo>
                  <a:cubicBezTo>
                    <a:pt x="642" y="141"/>
                    <a:pt x="642" y="139"/>
                    <a:pt x="642" y="136"/>
                  </a:cubicBezTo>
                  <a:cubicBezTo>
                    <a:pt x="655" y="109"/>
                    <a:pt x="657" y="104"/>
                    <a:pt x="662" y="99"/>
                  </a:cubicBezTo>
                  <a:cubicBezTo>
                    <a:pt x="645" y="113"/>
                    <a:pt x="645" y="122"/>
                    <a:pt x="637" y="130"/>
                  </a:cubicBezTo>
                  <a:cubicBezTo>
                    <a:pt x="617" y="197"/>
                    <a:pt x="614" y="202"/>
                    <a:pt x="614" y="207"/>
                  </a:cubicBezTo>
                  <a:cubicBezTo>
                    <a:pt x="613" y="227"/>
                    <a:pt x="609" y="228"/>
                    <a:pt x="612" y="231"/>
                  </a:cubicBezTo>
                  <a:cubicBezTo>
                    <a:pt x="612" y="251"/>
                    <a:pt x="612" y="254"/>
                    <a:pt x="608" y="256"/>
                  </a:cubicBezTo>
                  <a:cubicBezTo>
                    <a:pt x="608" y="278"/>
                    <a:pt x="607" y="283"/>
                    <a:pt x="607" y="289"/>
                  </a:cubicBezTo>
                  <a:cubicBezTo>
                    <a:pt x="595" y="363"/>
                    <a:pt x="592" y="374"/>
                    <a:pt x="587" y="384"/>
                  </a:cubicBezTo>
                  <a:cubicBezTo>
                    <a:pt x="589" y="326"/>
                    <a:pt x="592" y="323"/>
                    <a:pt x="592" y="319"/>
                  </a:cubicBezTo>
                  <a:cubicBezTo>
                    <a:pt x="594" y="243"/>
                    <a:pt x="593" y="240"/>
                    <a:pt x="594" y="237"/>
                  </a:cubicBezTo>
                  <a:cubicBezTo>
                    <a:pt x="597" y="223"/>
                    <a:pt x="596" y="219"/>
                    <a:pt x="596" y="216"/>
                  </a:cubicBezTo>
                  <a:cubicBezTo>
                    <a:pt x="608" y="177"/>
                    <a:pt x="610" y="170"/>
                    <a:pt x="614" y="163"/>
                  </a:cubicBezTo>
                  <a:cubicBezTo>
                    <a:pt x="624" y="125"/>
                    <a:pt x="623" y="130"/>
                    <a:pt x="621" y="134"/>
                  </a:cubicBezTo>
                  <a:cubicBezTo>
                    <a:pt x="598" y="185"/>
                    <a:pt x="595" y="190"/>
                    <a:pt x="594" y="195"/>
                  </a:cubicBezTo>
                  <a:cubicBezTo>
                    <a:pt x="583" y="227"/>
                    <a:pt x="590" y="232"/>
                    <a:pt x="586" y="235"/>
                  </a:cubicBezTo>
                  <a:cubicBezTo>
                    <a:pt x="585" y="269"/>
                    <a:pt x="583" y="276"/>
                    <a:pt x="584" y="284"/>
                  </a:cubicBezTo>
                  <a:cubicBezTo>
                    <a:pt x="583" y="334"/>
                    <a:pt x="581" y="338"/>
                    <a:pt x="584" y="342"/>
                  </a:cubicBezTo>
                  <a:cubicBezTo>
                    <a:pt x="578" y="377"/>
                    <a:pt x="579" y="381"/>
                    <a:pt x="575" y="384"/>
                  </a:cubicBezTo>
                  <a:cubicBezTo>
                    <a:pt x="572" y="368"/>
                    <a:pt x="578" y="365"/>
                    <a:pt x="575" y="361"/>
                  </a:cubicBezTo>
                  <a:cubicBezTo>
                    <a:pt x="580" y="316"/>
                    <a:pt x="571" y="307"/>
                    <a:pt x="578" y="300"/>
                  </a:cubicBezTo>
                  <a:cubicBezTo>
                    <a:pt x="572" y="220"/>
                    <a:pt x="574" y="213"/>
                    <a:pt x="573" y="205"/>
                  </a:cubicBezTo>
                  <a:cubicBezTo>
                    <a:pt x="581" y="177"/>
                    <a:pt x="576" y="169"/>
                    <a:pt x="580" y="163"/>
                  </a:cubicBezTo>
                  <a:cubicBezTo>
                    <a:pt x="594" y="117"/>
                    <a:pt x="601" y="111"/>
                    <a:pt x="598" y="103"/>
                  </a:cubicBezTo>
                  <a:cubicBezTo>
                    <a:pt x="577" y="151"/>
                    <a:pt x="576" y="154"/>
                    <a:pt x="573" y="156"/>
                  </a:cubicBezTo>
                  <a:cubicBezTo>
                    <a:pt x="562" y="241"/>
                    <a:pt x="563" y="252"/>
                    <a:pt x="564" y="263"/>
                  </a:cubicBezTo>
                  <a:cubicBezTo>
                    <a:pt x="569" y="302"/>
                    <a:pt x="564" y="307"/>
                    <a:pt x="568" y="312"/>
                  </a:cubicBezTo>
                  <a:cubicBezTo>
                    <a:pt x="566" y="341"/>
                    <a:pt x="565" y="352"/>
                    <a:pt x="568" y="364"/>
                  </a:cubicBezTo>
                  <a:cubicBezTo>
                    <a:pt x="553" y="423"/>
                    <a:pt x="553" y="420"/>
                    <a:pt x="555" y="417"/>
                  </a:cubicBezTo>
                  <a:cubicBezTo>
                    <a:pt x="556" y="394"/>
                    <a:pt x="560" y="392"/>
                    <a:pt x="558" y="388"/>
                  </a:cubicBezTo>
                  <a:cubicBezTo>
                    <a:pt x="561" y="333"/>
                    <a:pt x="563" y="331"/>
                    <a:pt x="562" y="329"/>
                  </a:cubicBezTo>
                  <a:cubicBezTo>
                    <a:pt x="559" y="274"/>
                    <a:pt x="553" y="255"/>
                    <a:pt x="554" y="236"/>
                  </a:cubicBezTo>
                  <a:cubicBezTo>
                    <a:pt x="554" y="218"/>
                    <a:pt x="555" y="214"/>
                    <a:pt x="554" y="209"/>
                  </a:cubicBezTo>
                  <a:cubicBezTo>
                    <a:pt x="559" y="193"/>
                    <a:pt x="557" y="190"/>
                    <a:pt x="559" y="188"/>
                  </a:cubicBezTo>
                  <a:cubicBezTo>
                    <a:pt x="569" y="145"/>
                    <a:pt x="573" y="136"/>
                    <a:pt x="573" y="126"/>
                  </a:cubicBezTo>
                  <a:cubicBezTo>
                    <a:pt x="557" y="167"/>
                    <a:pt x="554" y="173"/>
                    <a:pt x="555" y="179"/>
                  </a:cubicBezTo>
                  <a:cubicBezTo>
                    <a:pt x="548" y="204"/>
                    <a:pt x="545" y="211"/>
                    <a:pt x="547" y="219"/>
                  </a:cubicBezTo>
                  <a:cubicBezTo>
                    <a:pt x="545" y="249"/>
                    <a:pt x="547" y="257"/>
                    <a:pt x="548" y="265"/>
                  </a:cubicBezTo>
                  <a:cubicBezTo>
                    <a:pt x="553" y="302"/>
                    <a:pt x="551" y="305"/>
                    <a:pt x="550" y="308"/>
                  </a:cubicBezTo>
                  <a:cubicBezTo>
                    <a:pt x="556" y="350"/>
                    <a:pt x="553" y="352"/>
                    <a:pt x="554" y="354"/>
                  </a:cubicBezTo>
                  <a:cubicBezTo>
                    <a:pt x="551" y="391"/>
                    <a:pt x="544" y="394"/>
                    <a:pt x="549" y="399"/>
                  </a:cubicBezTo>
                  <a:cubicBezTo>
                    <a:pt x="548" y="423"/>
                    <a:pt x="541" y="425"/>
                    <a:pt x="543" y="428"/>
                  </a:cubicBezTo>
                  <a:cubicBezTo>
                    <a:pt x="534" y="435"/>
                    <a:pt x="534" y="428"/>
                    <a:pt x="538" y="422"/>
                  </a:cubicBezTo>
                  <a:cubicBezTo>
                    <a:pt x="537" y="386"/>
                    <a:pt x="541" y="383"/>
                    <a:pt x="540" y="379"/>
                  </a:cubicBezTo>
                  <a:cubicBezTo>
                    <a:pt x="538" y="342"/>
                    <a:pt x="537" y="338"/>
                    <a:pt x="538" y="333"/>
                  </a:cubicBezTo>
                  <a:cubicBezTo>
                    <a:pt x="535" y="297"/>
                    <a:pt x="532" y="288"/>
                    <a:pt x="531" y="280"/>
                  </a:cubicBezTo>
                  <a:cubicBezTo>
                    <a:pt x="528" y="237"/>
                    <a:pt x="531" y="236"/>
                    <a:pt x="530" y="234"/>
                  </a:cubicBezTo>
                  <a:cubicBezTo>
                    <a:pt x="531" y="195"/>
                    <a:pt x="535" y="192"/>
                    <a:pt x="534" y="187"/>
                  </a:cubicBezTo>
                  <a:cubicBezTo>
                    <a:pt x="537" y="169"/>
                    <a:pt x="538" y="165"/>
                    <a:pt x="539" y="161"/>
                  </a:cubicBezTo>
                  <a:cubicBezTo>
                    <a:pt x="534" y="156"/>
                    <a:pt x="534" y="160"/>
                    <a:pt x="532" y="164"/>
                  </a:cubicBezTo>
                  <a:cubicBezTo>
                    <a:pt x="527" y="184"/>
                    <a:pt x="527" y="187"/>
                    <a:pt x="528" y="189"/>
                  </a:cubicBezTo>
                  <a:cubicBezTo>
                    <a:pt x="521" y="228"/>
                    <a:pt x="522" y="230"/>
                    <a:pt x="522" y="232"/>
                  </a:cubicBezTo>
                  <a:cubicBezTo>
                    <a:pt x="521" y="256"/>
                    <a:pt x="520" y="257"/>
                    <a:pt x="522" y="259"/>
                  </a:cubicBezTo>
                  <a:cubicBezTo>
                    <a:pt x="527" y="285"/>
                    <a:pt x="520" y="288"/>
                    <a:pt x="524" y="293"/>
                  </a:cubicBezTo>
                  <a:cubicBezTo>
                    <a:pt x="532" y="343"/>
                    <a:pt x="530" y="351"/>
                    <a:pt x="534" y="361"/>
                  </a:cubicBezTo>
                  <a:cubicBezTo>
                    <a:pt x="531" y="378"/>
                    <a:pt x="529" y="380"/>
                    <a:pt x="532" y="382"/>
                  </a:cubicBezTo>
                  <a:cubicBezTo>
                    <a:pt x="530" y="417"/>
                    <a:pt x="530" y="421"/>
                    <a:pt x="528" y="424"/>
                  </a:cubicBezTo>
                  <a:cubicBezTo>
                    <a:pt x="523" y="442"/>
                    <a:pt x="525" y="445"/>
                    <a:pt x="522" y="444"/>
                  </a:cubicBezTo>
                  <a:cubicBezTo>
                    <a:pt x="523" y="396"/>
                    <a:pt x="516" y="383"/>
                    <a:pt x="519" y="372"/>
                  </a:cubicBezTo>
                  <a:cubicBezTo>
                    <a:pt x="517" y="348"/>
                    <a:pt x="514" y="341"/>
                    <a:pt x="515" y="335"/>
                  </a:cubicBezTo>
                  <a:cubicBezTo>
                    <a:pt x="506" y="291"/>
                    <a:pt x="509" y="286"/>
                    <a:pt x="507" y="280"/>
                  </a:cubicBezTo>
                  <a:cubicBezTo>
                    <a:pt x="508" y="220"/>
                    <a:pt x="509" y="215"/>
                    <a:pt x="510" y="209"/>
                  </a:cubicBezTo>
                  <a:cubicBezTo>
                    <a:pt x="513" y="185"/>
                    <a:pt x="512" y="178"/>
                    <a:pt x="516" y="173"/>
                  </a:cubicBezTo>
                  <a:cubicBezTo>
                    <a:pt x="515" y="159"/>
                    <a:pt x="514" y="162"/>
                    <a:pt x="512" y="164"/>
                  </a:cubicBezTo>
                  <a:cubicBezTo>
                    <a:pt x="505" y="191"/>
                    <a:pt x="507" y="196"/>
                    <a:pt x="504" y="201"/>
                  </a:cubicBezTo>
                  <a:cubicBezTo>
                    <a:pt x="500" y="221"/>
                    <a:pt x="502" y="226"/>
                    <a:pt x="501" y="230"/>
                  </a:cubicBezTo>
                  <a:cubicBezTo>
                    <a:pt x="498" y="248"/>
                    <a:pt x="500" y="251"/>
                    <a:pt x="500" y="253"/>
                  </a:cubicBezTo>
                  <a:cubicBezTo>
                    <a:pt x="496" y="271"/>
                    <a:pt x="502" y="275"/>
                    <a:pt x="498" y="277"/>
                  </a:cubicBezTo>
                  <a:cubicBezTo>
                    <a:pt x="497" y="300"/>
                    <a:pt x="497" y="294"/>
                    <a:pt x="497" y="290"/>
                  </a:cubicBezTo>
                  <a:cubicBezTo>
                    <a:pt x="494" y="271"/>
                    <a:pt x="495" y="268"/>
                    <a:pt x="495" y="266"/>
                  </a:cubicBezTo>
                  <a:cubicBezTo>
                    <a:pt x="494" y="202"/>
                    <a:pt x="495" y="187"/>
                    <a:pt x="499" y="173"/>
                  </a:cubicBezTo>
                  <a:cubicBezTo>
                    <a:pt x="501" y="135"/>
                    <a:pt x="510" y="133"/>
                    <a:pt x="503" y="128"/>
                  </a:cubicBezTo>
                  <a:cubicBezTo>
                    <a:pt x="490" y="173"/>
                    <a:pt x="490" y="178"/>
                    <a:pt x="489" y="183"/>
                  </a:cubicBezTo>
                  <a:cubicBezTo>
                    <a:pt x="485" y="220"/>
                    <a:pt x="485" y="223"/>
                    <a:pt x="485" y="225"/>
                  </a:cubicBezTo>
                  <a:cubicBezTo>
                    <a:pt x="484" y="256"/>
                    <a:pt x="483" y="258"/>
                    <a:pt x="486" y="261"/>
                  </a:cubicBezTo>
                  <a:cubicBezTo>
                    <a:pt x="484" y="277"/>
                    <a:pt x="489" y="280"/>
                    <a:pt x="487" y="282"/>
                  </a:cubicBezTo>
                  <a:cubicBezTo>
                    <a:pt x="498" y="337"/>
                    <a:pt x="496" y="347"/>
                    <a:pt x="502" y="357"/>
                  </a:cubicBezTo>
                  <a:cubicBezTo>
                    <a:pt x="506" y="408"/>
                    <a:pt x="505" y="413"/>
                    <a:pt x="503" y="418"/>
                  </a:cubicBezTo>
                  <a:cubicBezTo>
                    <a:pt x="505" y="450"/>
                    <a:pt x="505" y="453"/>
                    <a:pt x="503" y="455"/>
                  </a:cubicBezTo>
                  <a:cubicBezTo>
                    <a:pt x="499" y="471"/>
                    <a:pt x="503" y="479"/>
                    <a:pt x="498" y="475"/>
                  </a:cubicBezTo>
                  <a:cubicBezTo>
                    <a:pt x="493" y="426"/>
                    <a:pt x="495" y="423"/>
                    <a:pt x="495" y="419"/>
                  </a:cubicBezTo>
                  <a:cubicBezTo>
                    <a:pt x="485" y="375"/>
                    <a:pt x="480" y="366"/>
                    <a:pt x="483" y="359"/>
                  </a:cubicBezTo>
                  <a:cubicBezTo>
                    <a:pt x="470" y="321"/>
                    <a:pt x="476" y="319"/>
                    <a:pt x="470" y="314"/>
                  </a:cubicBezTo>
                  <a:cubicBezTo>
                    <a:pt x="459" y="218"/>
                    <a:pt x="466" y="212"/>
                    <a:pt x="462" y="204"/>
                  </a:cubicBezTo>
                  <a:cubicBezTo>
                    <a:pt x="457" y="195"/>
                    <a:pt x="457" y="204"/>
                    <a:pt x="457" y="213"/>
                  </a:cubicBezTo>
                  <a:cubicBezTo>
                    <a:pt x="457" y="232"/>
                    <a:pt x="452" y="236"/>
                    <a:pt x="455" y="241"/>
                  </a:cubicBezTo>
                  <a:cubicBezTo>
                    <a:pt x="454" y="275"/>
                    <a:pt x="459" y="280"/>
                    <a:pt x="456" y="285"/>
                  </a:cubicBezTo>
                  <a:cubicBezTo>
                    <a:pt x="462" y="317"/>
                    <a:pt x="462" y="322"/>
                    <a:pt x="465" y="327"/>
                  </a:cubicBezTo>
                  <a:cubicBezTo>
                    <a:pt x="475" y="362"/>
                    <a:pt x="473" y="368"/>
                    <a:pt x="475" y="375"/>
                  </a:cubicBezTo>
                  <a:cubicBezTo>
                    <a:pt x="478" y="394"/>
                    <a:pt x="483" y="397"/>
                    <a:pt x="481" y="400"/>
                  </a:cubicBezTo>
                  <a:cubicBezTo>
                    <a:pt x="484" y="436"/>
                    <a:pt x="490" y="444"/>
                    <a:pt x="487" y="449"/>
                  </a:cubicBezTo>
                  <a:cubicBezTo>
                    <a:pt x="483" y="480"/>
                    <a:pt x="490" y="485"/>
                    <a:pt x="488" y="488"/>
                  </a:cubicBezTo>
                  <a:cubicBezTo>
                    <a:pt x="483" y="503"/>
                    <a:pt x="485" y="499"/>
                    <a:pt x="485" y="495"/>
                  </a:cubicBezTo>
                  <a:cubicBezTo>
                    <a:pt x="486" y="464"/>
                    <a:pt x="482" y="459"/>
                    <a:pt x="483" y="454"/>
                  </a:cubicBezTo>
                  <a:cubicBezTo>
                    <a:pt x="474" y="394"/>
                    <a:pt x="466" y="388"/>
                    <a:pt x="469" y="384"/>
                  </a:cubicBezTo>
                  <a:cubicBezTo>
                    <a:pt x="462" y="348"/>
                    <a:pt x="459" y="346"/>
                    <a:pt x="457" y="346"/>
                  </a:cubicBezTo>
                  <a:cubicBezTo>
                    <a:pt x="449" y="328"/>
                    <a:pt x="460" y="322"/>
                    <a:pt x="453" y="324"/>
                  </a:cubicBezTo>
                  <a:cubicBezTo>
                    <a:pt x="446" y="286"/>
                    <a:pt x="449" y="281"/>
                    <a:pt x="445" y="276"/>
                  </a:cubicBezTo>
                  <a:cubicBezTo>
                    <a:pt x="449" y="241"/>
                    <a:pt x="443" y="235"/>
                    <a:pt x="444" y="230"/>
                  </a:cubicBezTo>
                  <a:cubicBezTo>
                    <a:pt x="450" y="210"/>
                    <a:pt x="442" y="203"/>
                    <a:pt x="449" y="199"/>
                  </a:cubicBezTo>
                  <a:cubicBezTo>
                    <a:pt x="454" y="163"/>
                    <a:pt x="461" y="159"/>
                    <a:pt x="458" y="153"/>
                  </a:cubicBezTo>
                  <a:cubicBezTo>
                    <a:pt x="444" y="191"/>
                    <a:pt x="439" y="200"/>
                    <a:pt x="440" y="211"/>
                  </a:cubicBezTo>
                  <a:cubicBezTo>
                    <a:pt x="435" y="250"/>
                    <a:pt x="436" y="261"/>
                    <a:pt x="437" y="271"/>
                  </a:cubicBezTo>
                  <a:cubicBezTo>
                    <a:pt x="442" y="313"/>
                    <a:pt x="444" y="323"/>
                    <a:pt x="448" y="335"/>
                  </a:cubicBezTo>
                  <a:cubicBezTo>
                    <a:pt x="458" y="387"/>
                    <a:pt x="461" y="393"/>
                    <a:pt x="460" y="398"/>
                  </a:cubicBezTo>
                  <a:cubicBezTo>
                    <a:pt x="473" y="464"/>
                    <a:pt x="476" y="471"/>
                    <a:pt x="475" y="477"/>
                  </a:cubicBezTo>
                  <a:cubicBezTo>
                    <a:pt x="472" y="519"/>
                    <a:pt x="470" y="522"/>
                    <a:pt x="473" y="526"/>
                  </a:cubicBezTo>
                  <a:cubicBezTo>
                    <a:pt x="466" y="546"/>
                    <a:pt x="465" y="547"/>
                    <a:pt x="465" y="548"/>
                  </a:cubicBezTo>
                  <a:cubicBezTo>
                    <a:pt x="459" y="507"/>
                    <a:pt x="462" y="504"/>
                    <a:pt x="463" y="501"/>
                  </a:cubicBezTo>
                  <a:cubicBezTo>
                    <a:pt x="458" y="462"/>
                    <a:pt x="451" y="454"/>
                    <a:pt x="451" y="448"/>
                  </a:cubicBezTo>
                  <a:cubicBezTo>
                    <a:pt x="436" y="412"/>
                    <a:pt x="440" y="409"/>
                    <a:pt x="436" y="405"/>
                  </a:cubicBezTo>
                  <a:cubicBezTo>
                    <a:pt x="427" y="372"/>
                    <a:pt x="429" y="369"/>
                    <a:pt x="426" y="365"/>
                  </a:cubicBezTo>
                  <a:cubicBezTo>
                    <a:pt x="421" y="351"/>
                    <a:pt x="423" y="350"/>
                    <a:pt x="421" y="347"/>
                  </a:cubicBezTo>
                  <a:cubicBezTo>
                    <a:pt x="417" y="313"/>
                    <a:pt x="414" y="309"/>
                    <a:pt x="415" y="305"/>
                  </a:cubicBezTo>
                  <a:cubicBezTo>
                    <a:pt x="416" y="260"/>
                    <a:pt x="418" y="257"/>
                    <a:pt x="414" y="253"/>
                  </a:cubicBezTo>
                  <a:cubicBezTo>
                    <a:pt x="416" y="237"/>
                    <a:pt x="416" y="229"/>
                    <a:pt x="414" y="222"/>
                  </a:cubicBezTo>
                  <a:cubicBezTo>
                    <a:pt x="416" y="200"/>
                    <a:pt x="418" y="197"/>
                    <a:pt x="418" y="194"/>
                  </a:cubicBezTo>
                  <a:cubicBezTo>
                    <a:pt x="414" y="206"/>
                    <a:pt x="410" y="211"/>
                    <a:pt x="412" y="216"/>
                  </a:cubicBezTo>
                  <a:cubicBezTo>
                    <a:pt x="409" y="236"/>
                    <a:pt x="410" y="242"/>
                    <a:pt x="410" y="247"/>
                  </a:cubicBezTo>
                  <a:cubicBezTo>
                    <a:pt x="407" y="327"/>
                    <a:pt x="412" y="332"/>
                    <a:pt x="410" y="335"/>
                  </a:cubicBezTo>
                  <a:cubicBezTo>
                    <a:pt x="414" y="368"/>
                    <a:pt x="422" y="373"/>
                    <a:pt x="420" y="377"/>
                  </a:cubicBezTo>
                  <a:cubicBezTo>
                    <a:pt x="438" y="439"/>
                    <a:pt x="445" y="459"/>
                    <a:pt x="448" y="477"/>
                  </a:cubicBezTo>
                  <a:cubicBezTo>
                    <a:pt x="451" y="509"/>
                    <a:pt x="452" y="514"/>
                    <a:pt x="453" y="518"/>
                  </a:cubicBezTo>
                  <a:cubicBezTo>
                    <a:pt x="449" y="518"/>
                    <a:pt x="452" y="515"/>
                    <a:pt x="448" y="512"/>
                  </a:cubicBezTo>
                  <a:cubicBezTo>
                    <a:pt x="443" y="484"/>
                    <a:pt x="442" y="477"/>
                    <a:pt x="441" y="470"/>
                  </a:cubicBezTo>
                  <a:cubicBezTo>
                    <a:pt x="432" y="436"/>
                    <a:pt x="429" y="432"/>
                    <a:pt x="428" y="428"/>
                  </a:cubicBezTo>
                  <a:cubicBezTo>
                    <a:pt x="416" y="393"/>
                    <a:pt x="413" y="389"/>
                    <a:pt x="414" y="386"/>
                  </a:cubicBezTo>
                  <a:cubicBezTo>
                    <a:pt x="407" y="359"/>
                    <a:pt x="405" y="356"/>
                    <a:pt x="403" y="350"/>
                  </a:cubicBezTo>
                  <a:cubicBezTo>
                    <a:pt x="401" y="334"/>
                    <a:pt x="403" y="333"/>
                    <a:pt x="403" y="333"/>
                  </a:cubicBezTo>
                  <a:cubicBezTo>
                    <a:pt x="401" y="321"/>
                    <a:pt x="400" y="317"/>
                    <a:pt x="399" y="314"/>
                  </a:cubicBezTo>
                  <a:cubicBezTo>
                    <a:pt x="395" y="298"/>
                    <a:pt x="397" y="295"/>
                    <a:pt x="396" y="293"/>
                  </a:cubicBezTo>
                  <a:cubicBezTo>
                    <a:pt x="390" y="256"/>
                    <a:pt x="396" y="250"/>
                    <a:pt x="392" y="243"/>
                  </a:cubicBezTo>
                  <a:cubicBezTo>
                    <a:pt x="394" y="217"/>
                    <a:pt x="395" y="215"/>
                    <a:pt x="395" y="213"/>
                  </a:cubicBezTo>
                  <a:cubicBezTo>
                    <a:pt x="388" y="211"/>
                    <a:pt x="391" y="212"/>
                    <a:pt x="391" y="214"/>
                  </a:cubicBezTo>
                  <a:cubicBezTo>
                    <a:pt x="386" y="231"/>
                    <a:pt x="389" y="235"/>
                    <a:pt x="386" y="237"/>
                  </a:cubicBezTo>
                  <a:cubicBezTo>
                    <a:pt x="387" y="268"/>
                    <a:pt x="385" y="271"/>
                    <a:pt x="388" y="275"/>
                  </a:cubicBezTo>
                  <a:cubicBezTo>
                    <a:pt x="391" y="325"/>
                    <a:pt x="397" y="338"/>
                    <a:pt x="393" y="350"/>
                  </a:cubicBezTo>
                  <a:cubicBezTo>
                    <a:pt x="405" y="382"/>
                    <a:pt x="403" y="390"/>
                    <a:pt x="408" y="398"/>
                  </a:cubicBezTo>
                  <a:cubicBezTo>
                    <a:pt x="419" y="430"/>
                    <a:pt x="421" y="438"/>
                    <a:pt x="423" y="446"/>
                  </a:cubicBezTo>
                  <a:cubicBezTo>
                    <a:pt x="436" y="483"/>
                    <a:pt x="432" y="487"/>
                    <a:pt x="436" y="491"/>
                  </a:cubicBezTo>
                  <a:cubicBezTo>
                    <a:pt x="440" y="554"/>
                    <a:pt x="443" y="558"/>
                    <a:pt x="443" y="562"/>
                  </a:cubicBezTo>
                  <a:cubicBezTo>
                    <a:pt x="428" y="572"/>
                    <a:pt x="429" y="568"/>
                    <a:pt x="430" y="564"/>
                  </a:cubicBezTo>
                  <a:cubicBezTo>
                    <a:pt x="417" y="498"/>
                    <a:pt x="416" y="485"/>
                    <a:pt x="415" y="472"/>
                  </a:cubicBezTo>
                  <a:cubicBezTo>
                    <a:pt x="409" y="449"/>
                    <a:pt x="405" y="442"/>
                    <a:pt x="406" y="436"/>
                  </a:cubicBezTo>
                  <a:cubicBezTo>
                    <a:pt x="401" y="421"/>
                    <a:pt x="398" y="415"/>
                    <a:pt x="398" y="411"/>
                  </a:cubicBezTo>
                  <a:cubicBezTo>
                    <a:pt x="393" y="374"/>
                    <a:pt x="387" y="375"/>
                    <a:pt x="389" y="372"/>
                  </a:cubicBezTo>
                  <a:cubicBezTo>
                    <a:pt x="382" y="312"/>
                    <a:pt x="377" y="293"/>
                    <a:pt x="381" y="275"/>
                  </a:cubicBezTo>
                  <a:cubicBezTo>
                    <a:pt x="385" y="244"/>
                    <a:pt x="380" y="238"/>
                    <a:pt x="383" y="234"/>
                  </a:cubicBezTo>
                  <a:cubicBezTo>
                    <a:pt x="377" y="239"/>
                    <a:pt x="376" y="242"/>
                    <a:pt x="376" y="244"/>
                  </a:cubicBezTo>
                  <a:cubicBezTo>
                    <a:pt x="375" y="300"/>
                    <a:pt x="373" y="312"/>
                    <a:pt x="372" y="324"/>
                  </a:cubicBezTo>
                  <a:cubicBezTo>
                    <a:pt x="386" y="402"/>
                    <a:pt x="389" y="407"/>
                    <a:pt x="389" y="412"/>
                  </a:cubicBezTo>
                  <a:cubicBezTo>
                    <a:pt x="411" y="512"/>
                    <a:pt x="416" y="522"/>
                    <a:pt x="416" y="532"/>
                  </a:cubicBezTo>
                  <a:cubicBezTo>
                    <a:pt x="418" y="573"/>
                    <a:pt x="419" y="584"/>
                    <a:pt x="420" y="595"/>
                  </a:cubicBezTo>
                  <a:cubicBezTo>
                    <a:pt x="411" y="622"/>
                    <a:pt x="419" y="616"/>
                    <a:pt x="413" y="608"/>
                  </a:cubicBezTo>
                  <a:cubicBezTo>
                    <a:pt x="406" y="541"/>
                    <a:pt x="407" y="534"/>
                    <a:pt x="403" y="527"/>
                  </a:cubicBezTo>
                  <a:cubicBezTo>
                    <a:pt x="394" y="499"/>
                    <a:pt x="398" y="493"/>
                    <a:pt x="395" y="486"/>
                  </a:cubicBezTo>
                  <a:cubicBezTo>
                    <a:pt x="376" y="417"/>
                    <a:pt x="378" y="413"/>
                    <a:pt x="374" y="408"/>
                  </a:cubicBezTo>
                  <a:cubicBezTo>
                    <a:pt x="370" y="378"/>
                    <a:pt x="365" y="372"/>
                    <a:pt x="367" y="369"/>
                  </a:cubicBezTo>
                  <a:cubicBezTo>
                    <a:pt x="363" y="308"/>
                    <a:pt x="356" y="298"/>
                    <a:pt x="360" y="290"/>
                  </a:cubicBezTo>
                  <a:cubicBezTo>
                    <a:pt x="362" y="248"/>
                    <a:pt x="362" y="244"/>
                    <a:pt x="362" y="239"/>
                  </a:cubicBezTo>
                  <a:cubicBezTo>
                    <a:pt x="363" y="220"/>
                    <a:pt x="361" y="223"/>
                    <a:pt x="360" y="226"/>
                  </a:cubicBezTo>
                  <a:cubicBezTo>
                    <a:pt x="358" y="241"/>
                    <a:pt x="353" y="244"/>
                    <a:pt x="357" y="248"/>
                  </a:cubicBezTo>
                  <a:cubicBezTo>
                    <a:pt x="352" y="267"/>
                    <a:pt x="356" y="270"/>
                    <a:pt x="351" y="272"/>
                  </a:cubicBezTo>
                  <a:cubicBezTo>
                    <a:pt x="350" y="303"/>
                    <a:pt x="355" y="306"/>
                    <a:pt x="353" y="308"/>
                  </a:cubicBezTo>
                  <a:cubicBezTo>
                    <a:pt x="351" y="332"/>
                    <a:pt x="356" y="338"/>
                    <a:pt x="353" y="342"/>
                  </a:cubicBezTo>
                  <a:cubicBezTo>
                    <a:pt x="363" y="389"/>
                    <a:pt x="362" y="393"/>
                    <a:pt x="367" y="398"/>
                  </a:cubicBezTo>
                  <a:cubicBezTo>
                    <a:pt x="367" y="433"/>
                    <a:pt x="379" y="443"/>
                    <a:pt x="375" y="451"/>
                  </a:cubicBezTo>
                  <a:cubicBezTo>
                    <a:pt x="395" y="536"/>
                    <a:pt x="399" y="541"/>
                    <a:pt x="399" y="545"/>
                  </a:cubicBezTo>
                  <a:cubicBezTo>
                    <a:pt x="400" y="576"/>
                    <a:pt x="402" y="581"/>
                    <a:pt x="406" y="586"/>
                  </a:cubicBezTo>
                  <a:cubicBezTo>
                    <a:pt x="406" y="605"/>
                    <a:pt x="405" y="608"/>
                    <a:pt x="404" y="610"/>
                  </a:cubicBezTo>
                  <a:cubicBezTo>
                    <a:pt x="402" y="627"/>
                    <a:pt x="408" y="632"/>
                    <a:pt x="403" y="635"/>
                  </a:cubicBezTo>
                  <a:cubicBezTo>
                    <a:pt x="396" y="601"/>
                    <a:pt x="401" y="597"/>
                    <a:pt x="398" y="592"/>
                  </a:cubicBezTo>
                  <a:cubicBezTo>
                    <a:pt x="383" y="512"/>
                    <a:pt x="375" y="506"/>
                    <a:pt x="377" y="501"/>
                  </a:cubicBezTo>
                  <a:cubicBezTo>
                    <a:pt x="354" y="435"/>
                    <a:pt x="354" y="416"/>
                    <a:pt x="344" y="395"/>
                  </a:cubicBezTo>
                  <a:cubicBezTo>
                    <a:pt x="338" y="338"/>
                    <a:pt x="338" y="335"/>
                    <a:pt x="339" y="333"/>
                  </a:cubicBezTo>
                  <a:cubicBezTo>
                    <a:pt x="340" y="299"/>
                    <a:pt x="336" y="293"/>
                    <a:pt x="338" y="287"/>
                  </a:cubicBezTo>
                  <a:cubicBezTo>
                    <a:pt x="331" y="289"/>
                    <a:pt x="332" y="300"/>
                    <a:pt x="330" y="310"/>
                  </a:cubicBezTo>
                  <a:cubicBezTo>
                    <a:pt x="334" y="336"/>
                    <a:pt x="329" y="338"/>
                    <a:pt x="333" y="342"/>
                  </a:cubicBezTo>
                  <a:cubicBezTo>
                    <a:pt x="337" y="378"/>
                    <a:pt x="335" y="383"/>
                    <a:pt x="337" y="388"/>
                  </a:cubicBezTo>
                  <a:cubicBezTo>
                    <a:pt x="337" y="409"/>
                    <a:pt x="345" y="415"/>
                    <a:pt x="343" y="420"/>
                  </a:cubicBezTo>
                  <a:cubicBezTo>
                    <a:pt x="357" y="454"/>
                    <a:pt x="351" y="461"/>
                    <a:pt x="357" y="467"/>
                  </a:cubicBezTo>
                  <a:cubicBezTo>
                    <a:pt x="369" y="497"/>
                    <a:pt x="364" y="504"/>
                    <a:pt x="368" y="506"/>
                  </a:cubicBezTo>
                  <a:cubicBezTo>
                    <a:pt x="379" y="543"/>
                    <a:pt x="382" y="551"/>
                    <a:pt x="384" y="558"/>
                  </a:cubicBezTo>
                  <a:cubicBezTo>
                    <a:pt x="390" y="600"/>
                    <a:pt x="393" y="605"/>
                    <a:pt x="388" y="609"/>
                  </a:cubicBezTo>
                  <a:cubicBezTo>
                    <a:pt x="376" y="559"/>
                    <a:pt x="371" y="556"/>
                    <a:pt x="373" y="554"/>
                  </a:cubicBezTo>
                  <a:cubicBezTo>
                    <a:pt x="357" y="504"/>
                    <a:pt x="350" y="497"/>
                    <a:pt x="350" y="491"/>
                  </a:cubicBezTo>
                  <a:cubicBezTo>
                    <a:pt x="323" y="433"/>
                    <a:pt x="327" y="431"/>
                    <a:pt x="324" y="427"/>
                  </a:cubicBezTo>
                  <a:cubicBezTo>
                    <a:pt x="313" y="386"/>
                    <a:pt x="309" y="374"/>
                    <a:pt x="308" y="362"/>
                  </a:cubicBezTo>
                  <a:cubicBezTo>
                    <a:pt x="306" y="320"/>
                    <a:pt x="303" y="314"/>
                    <a:pt x="304" y="308"/>
                  </a:cubicBezTo>
                  <a:cubicBezTo>
                    <a:pt x="303" y="284"/>
                    <a:pt x="306" y="279"/>
                    <a:pt x="306" y="273"/>
                  </a:cubicBezTo>
                  <a:cubicBezTo>
                    <a:pt x="300" y="263"/>
                    <a:pt x="301" y="273"/>
                    <a:pt x="300" y="282"/>
                  </a:cubicBezTo>
                  <a:cubicBezTo>
                    <a:pt x="298" y="301"/>
                    <a:pt x="297" y="305"/>
                    <a:pt x="295" y="310"/>
                  </a:cubicBezTo>
                  <a:cubicBezTo>
                    <a:pt x="307" y="382"/>
                    <a:pt x="302" y="391"/>
                    <a:pt x="310" y="402"/>
                  </a:cubicBezTo>
                  <a:cubicBezTo>
                    <a:pt x="317" y="439"/>
                    <a:pt x="325" y="446"/>
                    <a:pt x="323" y="450"/>
                  </a:cubicBezTo>
                  <a:cubicBezTo>
                    <a:pt x="337" y="478"/>
                    <a:pt x="337" y="489"/>
                    <a:pt x="345" y="500"/>
                  </a:cubicBezTo>
                  <a:cubicBezTo>
                    <a:pt x="352" y="526"/>
                    <a:pt x="359" y="530"/>
                    <a:pt x="355" y="532"/>
                  </a:cubicBezTo>
                  <a:cubicBezTo>
                    <a:pt x="378" y="589"/>
                    <a:pt x="373" y="597"/>
                    <a:pt x="377" y="600"/>
                  </a:cubicBezTo>
                  <a:cubicBezTo>
                    <a:pt x="374" y="595"/>
                    <a:pt x="367" y="591"/>
                    <a:pt x="366" y="588"/>
                  </a:cubicBezTo>
                  <a:cubicBezTo>
                    <a:pt x="355" y="552"/>
                    <a:pt x="348" y="544"/>
                    <a:pt x="350" y="538"/>
                  </a:cubicBezTo>
                  <a:cubicBezTo>
                    <a:pt x="324" y="484"/>
                    <a:pt x="321" y="468"/>
                    <a:pt x="311" y="451"/>
                  </a:cubicBezTo>
                  <a:cubicBezTo>
                    <a:pt x="301" y="423"/>
                    <a:pt x="301" y="419"/>
                    <a:pt x="300" y="415"/>
                  </a:cubicBezTo>
                  <a:cubicBezTo>
                    <a:pt x="290" y="374"/>
                    <a:pt x="287" y="369"/>
                    <a:pt x="289" y="366"/>
                  </a:cubicBezTo>
                  <a:cubicBezTo>
                    <a:pt x="286" y="345"/>
                    <a:pt x="285" y="337"/>
                    <a:pt x="285" y="330"/>
                  </a:cubicBezTo>
                  <a:cubicBezTo>
                    <a:pt x="278" y="309"/>
                    <a:pt x="280" y="316"/>
                    <a:pt x="280" y="319"/>
                  </a:cubicBezTo>
                  <a:cubicBezTo>
                    <a:pt x="279" y="330"/>
                    <a:pt x="279" y="333"/>
                    <a:pt x="279" y="334"/>
                  </a:cubicBezTo>
                  <a:cubicBezTo>
                    <a:pt x="276" y="357"/>
                    <a:pt x="284" y="362"/>
                    <a:pt x="281" y="365"/>
                  </a:cubicBezTo>
                  <a:cubicBezTo>
                    <a:pt x="287" y="400"/>
                    <a:pt x="290" y="404"/>
                    <a:pt x="290" y="407"/>
                  </a:cubicBezTo>
                  <a:cubicBezTo>
                    <a:pt x="314" y="477"/>
                    <a:pt x="313" y="479"/>
                    <a:pt x="313" y="481"/>
                  </a:cubicBezTo>
                  <a:cubicBezTo>
                    <a:pt x="324" y="507"/>
                    <a:pt x="331" y="514"/>
                    <a:pt x="329" y="519"/>
                  </a:cubicBezTo>
                  <a:cubicBezTo>
                    <a:pt x="359" y="601"/>
                    <a:pt x="365" y="601"/>
                    <a:pt x="364" y="609"/>
                  </a:cubicBezTo>
                  <a:cubicBezTo>
                    <a:pt x="371" y="640"/>
                    <a:pt x="372" y="643"/>
                    <a:pt x="374" y="646"/>
                  </a:cubicBezTo>
                  <a:cubicBezTo>
                    <a:pt x="376" y="667"/>
                    <a:pt x="377" y="669"/>
                    <a:pt x="374" y="671"/>
                  </a:cubicBezTo>
                  <a:cubicBezTo>
                    <a:pt x="375" y="687"/>
                    <a:pt x="374" y="690"/>
                    <a:pt x="375" y="692"/>
                  </a:cubicBezTo>
                  <a:cubicBezTo>
                    <a:pt x="370" y="713"/>
                    <a:pt x="369" y="717"/>
                    <a:pt x="367" y="715"/>
                  </a:cubicBezTo>
                  <a:cubicBezTo>
                    <a:pt x="363" y="675"/>
                    <a:pt x="362" y="670"/>
                    <a:pt x="363" y="666"/>
                  </a:cubicBezTo>
                  <a:cubicBezTo>
                    <a:pt x="352" y="608"/>
                    <a:pt x="345" y="610"/>
                    <a:pt x="346" y="605"/>
                  </a:cubicBezTo>
                  <a:cubicBezTo>
                    <a:pt x="334" y="572"/>
                    <a:pt x="329" y="574"/>
                    <a:pt x="329" y="568"/>
                  </a:cubicBezTo>
                  <a:cubicBezTo>
                    <a:pt x="310" y="526"/>
                    <a:pt x="303" y="521"/>
                    <a:pt x="305" y="517"/>
                  </a:cubicBezTo>
                  <a:cubicBezTo>
                    <a:pt x="290" y="492"/>
                    <a:pt x="293" y="489"/>
                    <a:pt x="289" y="484"/>
                  </a:cubicBezTo>
                  <a:cubicBezTo>
                    <a:pt x="272" y="442"/>
                    <a:pt x="272" y="433"/>
                    <a:pt x="267" y="424"/>
                  </a:cubicBezTo>
                  <a:cubicBezTo>
                    <a:pt x="263" y="382"/>
                    <a:pt x="261" y="377"/>
                    <a:pt x="262" y="373"/>
                  </a:cubicBezTo>
                  <a:cubicBezTo>
                    <a:pt x="263" y="332"/>
                    <a:pt x="259" y="327"/>
                    <a:pt x="260" y="323"/>
                  </a:cubicBezTo>
                  <a:cubicBezTo>
                    <a:pt x="255" y="324"/>
                    <a:pt x="255" y="328"/>
                    <a:pt x="258" y="332"/>
                  </a:cubicBezTo>
                  <a:cubicBezTo>
                    <a:pt x="253" y="357"/>
                    <a:pt x="255" y="358"/>
                    <a:pt x="255" y="359"/>
                  </a:cubicBezTo>
                  <a:cubicBezTo>
                    <a:pt x="256" y="372"/>
                    <a:pt x="254" y="373"/>
                    <a:pt x="255" y="376"/>
                  </a:cubicBezTo>
                  <a:cubicBezTo>
                    <a:pt x="262" y="413"/>
                    <a:pt x="257" y="421"/>
                    <a:pt x="262" y="430"/>
                  </a:cubicBezTo>
                  <a:cubicBezTo>
                    <a:pt x="271" y="463"/>
                    <a:pt x="270" y="468"/>
                    <a:pt x="276" y="474"/>
                  </a:cubicBezTo>
                  <a:cubicBezTo>
                    <a:pt x="293" y="525"/>
                    <a:pt x="305" y="537"/>
                    <a:pt x="308" y="549"/>
                  </a:cubicBezTo>
                  <a:cubicBezTo>
                    <a:pt x="326" y="593"/>
                    <a:pt x="338" y="598"/>
                    <a:pt x="333" y="600"/>
                  </a:cubicBezTo>
                  <a:cubicBezTo>
                    <a:pt x="344" y="639"/>
                    <a:pt x="350" y="643"/>
                    <a:pt x="348" y="645"/>
                  </a:cubicBezTo>
                  <a:cubicBezTo>
                    <a:pt x="360" y="675"/>
                    <a:pt x="349" y="681"/>
                    <a:pt x="356" y="679"/>
                  </a:cubicBezTo>
                  <a:cubicBezTo>
                    <a:pt x="356" y="718"/>
                    <a:pt x="357" y="722"/>
                    <a:pt x="358" y="727"/>
                  </a:cubicBezTo>
                  <a:cubicBezTo>
                    <a:pt x="355" y="728"/>
                    <a:pt x="353" y="720"/>
                    <a:pt x="355" y="712"/>
                  </a:cubicBezTo>
                  <a:cubicBezTo>
                    <a:pt x="344" y="656"/>
                    <a:pt x="337" y="650"/>
                    <a:pt x="339" y="647"/>
                  </a:cubicBezTo>
                  <a:cubicBezTo>
                    <a:pt x="327" y="614"/>
                    <a:pt x="329" y="612"/>
                    <a:pt x="327" y="609"/>
                  </a:cubicBezTo>
                  <a:cubicBezTo>
                    <a:pt x="296" y="547"/>
                    <a:pt x="292" y="535"/>
                    <a:pt x="286" y="521"/>
                  </a:cubicBezTo>
                  <a:cubicBezTo>
                    <a:pt x="264" y="475"/>
                    <a:pt x="265" y="471"/>
                    <a:pt x="260" y="465"/>
                  </a:cubicBezTo>
                  <a:cubicBezTo>
                    <a:pt x="247" y="411"/>
                    <a:pt x="246" y="405"/>
                    <a:pt x="244" y="399"/>
                  </a:cubicBezTo>
                  <a:cubicBezTo>
                    <a:pt x="237" y="392"/>
                    <a:pt x="243" y="396"/>
                    <a:pt x="240" y="399"/>
                  </a:cubicBezTo>
                  <a:cubicBezTo>
                    <a:pt x="245" y="450"/>
                    <a:pt x="252" y="456"/>
                    <a:pt x="251" y="460"/>
                  </a:cubicBezTo>
                  <a:cubicBezTo>
                    <a:pt x="278" y="524"/>
                    <a:pt x="284" y="536"/>
                    <a:pt x="288" y="548"/>
                  </a:cubicBezTo>
                  <a:cubicBezTo>
                    <a:pt x="302" y="574"/>
                    <a:pt x="305" y="577"/>
                    <a:pt x="303" y="579"/>
                  </a:cubicBezTo>
                  <a:cubicBezTo>
                    <a:pt x="316" y="612"/>
                    <a:pt x="323" y="618"/>
                    <a:pt x="323" y="624"/>
                  </a:cubicBezTo>
                  <a:cubicBezTo>
                    <a:pt x="325" y="635"/>
                    <a:pt x="328" y="634"/>
                    <a:pt x="329" y="635"/>
                  </a:cubicBezTo>
                  <a:cubicBezTo>
                    <a:pt x="329" y="647"/>
                    <a:pt x="332" y="649"/>
                    <a:pt x="330" y="651"/>
                  </a:cubicBezTo>
                  <a:cubicBezTo>
                    <a:pt x="342" y="695"/>
                    <a:pt x="341" y="702"/>
                    <a:pt x="346" y="710"/>
                  </a:cubicBezTo>
                  <a:cubicBezTo>
                    <a:pt x="344" y="729"/>
                    <a:pt x="346" y="732"/>
                    <a:pt x="343" y="730"/>
                  </a:cubicBezTo>
                  <a:cubicBezTo>
                    <a:pt x="342" y="696"/>
                    <a:pt x="336" y="691"/>
                    <a:pt x="340" y="688"/>
                  </a:cubicBezTo>
                  <a:cubicBezTo>
                    <a:pt x="322" y="644"/>
                    <a:pt x="323" y="635"/>
                    <a:pt x="319" y="625"/>
                  </a:cubicBezTo>
                  <a:cubicBezTo>
                    <a:pt x="304" y="603"/>
                    <a:pt x="309" y="596"/>
                    <a:pt x="304" y="598"/>
                  </a:cubicBezTo>
                  <a:cubicBezTo>
                    <a:pt x="283" y="562"/>
                    <a:pt x="281" y="562"/>
                    <a:pt x="280" y="557"/>
                  </a:cubicBezTo>
                  <a:cubicBezTo>
                    <a:pt x="239" y="483"/>
                    <a:pt x="234" y="468"/>
                    <a:pt x="227" y="453"/>
                  </a:cubicBezTo>
                  <a:cubicBezTo>
                    <a:pt x="222" y="406"/>
                    <a:pt x="214" y="401"/>
                    <a:pt x="217" y="399"/>
                  </a:cubicBezTo>
                  <a:cubicBezTo>
                    <a:pt x="210" y="368"/>
                    <a:pt x="206" y="371"/>
                    <a:pt x="209" y="374"/>
                  </a:cubicBezTo>
                  <a:cubicBezTo>
                    <a:pt x="211" y="412"/>
                    <a:pt x="214" y="416"/>
                    <a:pt x="212" y="419"/>
                  </a:cubicBezTo>
                  <a:cubicBezTo>
                    <a:pt x="217" y="447"/>
                    <a:pt x="220" y="451"/>
                    <a:pt x="218" y="454"/>
                  </a:cubicBezTo>
                  <a:cubicBezTo>
                    <a:pt x="237" y="486"/>
                    <a:pt x="228" y="488"/>
                    <a:pt x="233" y="492"/>
                  </a:cubicBezTo>
                  <a:cubicBezTo>
                    <a:pt x="243" y="506"/>
                    <a:pt x="241" y="507"/>
                    <a:pt x="243" y="510"/>
                  </a:cubicBezTo>
                  <a:cubicBezTo>
                    <a:pt x="273" y="563"/>
                    <a:pt x="281" y="573"/>
                    <a:pt x="290" y="592"/>
                  </a:cubicBezTo>
                  <a:cubicBezTo>
                    <a:pt x="313" y="641"/>
                    <a:pt x="320" y="646"/>
                    <a:pt x="317" y="650"/>
                  </a:cubicBezTo>
                  <a:cubicBezTo>
                    <a:pt x="324" y="674"/>
                    <a:pt x="328" y="677"/>
                    <a:pt x="326" y="679"/>
                  </a:cubicBezTo>
                  <a:cubicBezTo>
                    <a:pt x="331" y="728"/>
                    <a:pt x="335" y="734"/>
                    <a:pt x="335" y="739"/>
                  </a:cubicBezTo>
                  <a:cubicBezTo>
                    <a:pt x="329" y="772"/>
                    <a:pt x="335" y="778"/>
                    <a:pt x="329" y="782"/>
                  </a:cubicBezTo>
                  <a:cubicBezTo>
                    <a:pt x="329" y="760"/>
                    <a:pt x="324" y="756"/>
                    <a:pt x="326" y="754"/>
                  </a:cubicBezTo>
                  <a:cubicBezTo>
                    <a:pt x="316" y="694"/>
                    <a:pt x="311" y="688"/>
                    <a:pt x="312" y="684"/>
                  </a:cubicBezTo>
                  <a:cubicBezTo>
                    <a:pt x="303" y="664"/>
                    <a:pt x="300" y="660"/>
                    <a:pt x="297" y="655"/>
                  </a:cubicBezTo>
                  <a:cubicBezTo>
                    <a:pt x="277" y="614"/>
                    <a:pt x="276" y="603"/>
                    <a:pt x="266" y="592"/>
                  </a:cubicBezTo>
                  <a:cubicBezTo>
                    <a:pt x="229" y="512"/>
                    <a:pt x="224" y="509"/>
                    <a:pt x="226" y="507"/>
                  </a:cubicBezTo>
                  <a:cubicBezTo>
                    <a:pt x="219" y="487"/>
                    <a:pt x="218" y="484"/>
                    <a:pt x="215" y="481"/>
                  </a:cubicBezTo>
                  <a:cubicBezTo>
                    <a:pt x="207" y="434"/>
                    <a:pt x="204" y="427"/>
                    <a:pt x="203" y="421"/>
                  </a:cubicBezTo>
                  <a:cubicBezTo>
                    <a:pt x="200" y="407"/>
                    <a:pt x="202" y="403"/>
                    <a:pt x="198" y="400"/>
                  </a:cubicBezTo>
                  <a:cubicBezTo>
                    <a:pt x="196" y="424"/>
                    <a:pt x="202" y="423"/>
                    <a:pt x="200" y="426"/>
                  </a:cubicBezTo>
                  <a:cubicBezTo>
                    <a:pt x="204" y="466"/>
                    <a:pt x="207" y="469"/>
                    <a:pt x="205" y="471"/>
                  </a:cubicBezTo>
                  <a:cubicBezTo>
                    <a:pt x="232" y="535"/>
                    <a:pt x="234" y="550"/>
                    <a:pt x="247" y="566"/>
                  </a:cubicBezTo>
                  <a:cubicBezTo>
                    <a:pt x="301" y="688"/>
                    <a:pt x="306" y="693"/>
                    <a:pt x="305" y="698"/>
                  </a:cubicBezTo>
                  <a:cubicBezTo>
                    <a:pt x="318" y="764"/>
                    <a:pt x="321" y="768"/>
                    <a:pt x="316" y="771"/>
                  </a:cubicBezTo>
                  <a:cubicBezTo>
                    <a:pt x="320" y="797"/>
                    <a:pt x="318" y="798"/>
                    <a:pt x="320" y="800"/>
                  </a:cubicBezTo>
                  <a:cubicBezTo>
                    <a:pt x="311" y="765"/>
                    <a:pt x="308" y="755"/>
                    <a:pt x="311" y="746"/>
                  </a:cubicBezTo>
                  <a:cubicBezTo>
                    <a:pt x="292" y="699"/>
                    <a:pt x="295" y="695"/>
                    <a:pt x="291" y="689"/>
                  </a:cubicBezTo>
                  <a:cubicBezTo>
                    <a:pt x="279" y="664"/>
                    <a:pt x="281" y="659"/>
                    <a:pt x="274" y="652"/>
                  </a:cubicBezTo>
                  <a:cubicBezTo>
                    <a:pt x="272" y="634"/>
                    <a:pt x="265" y="630"/>
                    <a:pt x="264" y="627"/>
                  </a:cubicBezTo>
                  <a:cubicBezTo>
                    <a:pt x="258" y="606"/>
                    <a:pt x="250" y="601"/>
                    <a:pt x="253" y="598"/>
                  </a:cubicBezTo>
                  <a:cubicBezTo>
                    <a:pt x="219" y="535"/>
                    <a:pt x="210" y="531"/>
                    <a:pt x="213" y="526"/>
                  </a:cubicBezTo>
                  <a:cubicBezTo>
                    <a:pt x="196" y="496"/>
                    <a:pt x="200" y="495"/>
                    <a:pt x="199" y="493"/>
                  </a:cubicBezTo>
                  <a:cubicBezTo>
                    <a:pt x="188" y="444"/>
                    <a:pt x="183" y="435"/>
                    <a:pt x="184" y="427"/>
                  </a:cubicBezTo>
                  <a:cubicBezTo>
                    <a:pt x="176" y="409"/>
                    <a:pt x="175" y="415"/>
                    <a:pt x="176" y="421"/>
                  </a:cubicBezTo>
                  <a:cubicBezTo>
                    <a:pt x="180" y="443"/>
                    <a:pt x="180" y="448"/>
                    <a:pt x="180" y="452"/>
                  </a:cubicBezTo>
                  <a:cubicBezTo>
                    <a:pt x="181" y="498"/>
                    <a:pt x="184" y="526"/>
                    <a:pt x="195" y="545"/>
                  </a:cubicBezTo>
                  <a:cubicBezTo>
                    <a:pt x="206" y="572"/>
                    <a:pt x="208" y="569"/>
                    <a:pt x="211" y="577"/>
                  </a:cubicBezTo>
                  <a:cubicBezTo>
                    <a:pt x="236" y="627"/>
                    <a:pt x="240" y="630"/>
                    <a:pt x="238" y="632"/>
                  </a:cubicBezTo>
                  <a:cubicBezTo>
                    <a:pt x="260" y="671"/>
                    <a:pt x="263" y="679"/>
                    <a:pt x="270" y="687"/>
                  </a:cubicBezTo>
                  <a:cubicBezTo>
                    <a:pt x="277" y="703"/>
                    <a:pt x="278" y="705"/>
                    <a:pt x="280" y="707"/>
                  </a:cubicBezTo>
                  <a:cubicBezTo>
                    <a:pt x="284" y="736"/>
                    <a:pt x="293" y="745"/>
                    <a:pt x="290" y="751"/>
                  </a:cubicBezTo>
                  <a:cubicBezTo>
                    <a:pt x="300" y="786"/>
                    <a:pt x="298" y="788"/>
                    <a:pt x="301" y="790"/>
                  </a:cubicBezTo>
                  <a:cubicBezTo>
                    <a:pt x="285" y="760"/>
                    <a:pt x="280" y="751"/>
                    <a:pt x="281" y="743"/>
                  </a:cubicBezTo>
                  <a:cubicBezTo>
                    <a:pt x="267" y="717"/>
                    <a:pt x="263" y="712"/>
                    <a:pt x="264" y="709"/>
                  </a:cubicBezTo>
                  <a:cubicBezTo>
                    <a:pt x="248" y="682"/>
                    <a:pt x="246" y="670"/>
                    <a:pt x="242" y="658"/>
                  </a:cubicBezTo>
                  <a:cubicBezTo>
                    <a:pt x="179" y="534"/>
                    <a:pt x="172" y="518"/>
                    <a:pt x="162" y="502"/>
                  </a:cubicBezTo>
                  <a:cubicBezTo>
                    <a:pt x="145" y="444"/>
                    <a:pt x="148" y="430"/>
                    <a:pt x="143" y="415"/>
                  </a:cubicBezTo>
                  <a:cubicBezTo>
                    <a:pt x="140" y="444"/>
                    <a:pt x="143" y="452"/>
                    <a:pt x="143" y="459"/>
                  </a:cubicBezTo>
                  <a:cubicBezTo>
                    <a:pt x="153" y="499"/>
                    <a:pt x="156" y="503"/>
                    <a:pt x="155" y="507"/>
                  </a:cubicBezTo>
                  <a:cubicBezTo>
                    <a:pt x="184" y="563"/>
                    <a:pt x="185" y="565"/>
                    <a:pt x="185" y="569"/>
                  </a:cubicBezTo>
                  <a:cubicBezTo>
                    <a:pt x="202" y="603"/>
                    <a:pt x="208" y="605"/>
                    <a:pt x="207" y="612"/>
                  </a:cubicBezTo>
                  <a:cubicBezTo>
                    <a:pt x="217" y="641"/>
                    <a:pt x="230" y="639"/>
                    <a:pt x="224" y="644"/>
                  </a:cubicBezTo>
                  <a:cubicBezTo>
                    <a:pt x="287" y="796"/>
                    <a:pt x="292" y="802"/>
                    <a:pt x="291" y="807"/>
                  </a:cubicBezTo>
                  <a:cubicBezTo>
                    <a:pt x="298" y="844"/>
                    <a:pt x="299" y="847"/>
                    <a:pt x="297" y="849"/>
                  </a:cubicBezTo>
                  <a:cubicBezTo>
                    <a:pt x="295" y="844"/>
                    <a:pt x="294" y="840"/>
                    <a:pt x="292" y="836"/>
                  </a:cubicBezTo>
                  <a:cubicBezTo>
                    <a:pt x="285" y="809"/>
                    <a:pt x="281" y="804"/>
                    <a:pt x="278" y="799"/>
                  </a:cubicBezTo>
                  <a:cubicBezTo>
                    <a:pt x="255" y="746"/>
                    <a:pt x="249" y="747"/>
                    <a:pt x="250" y="741"/>
                  </a:cubicBezTo>
                  <a:cubicBezTo>
                    <a:pt x="223" y="694"/>
                    <a:pt x="225" y="692"/>
                    <a:pt x="223" y="689"/>
                  </a:cubicBezTo>
                  <a:cubicBezTo>
                    <a:pt x="216" y="674"/>
                    <a:pt x="215" y="671"/>
                    <a:pt x="212" y="667"/>
                  </a:cubicBezTo>
                  <a:cubicBezTo>
                    <a:pt x="201" y="644"/>
                    <a:pt x="195" y="640"/>
                    <a:pt x="198" y="638"/>
                  </a:cubicBezTo>
                  <a:cubicBezTo>
                    <a:pt x="149" y="549"/>
                    <a:pt x="156" y="559"/>
                    <a:pt x="157" y="567"/>
                  </a:cubicBezTo>
                  <a:cubicBezTo>
                    <a:pt x="160" y="580"/>
                    <a:pt x="164" y="583"/>
                    <a:pt x="165" y="586"/>
                  </a:cubicBezTo>
                  <a:cubicBezTo>
                    <a:pt x="177" y="613"/>
                    <a:pt x="172" y="614"/>
                    <a:pt x="179" y="618"/>
                  </a:cubicBezTo>
                  <a:cubicBezTo>
                    <a:pt x="187" y="642"/>
                    <a:pt x="191" y="644"/>
                    <a:pt x="192" y="647"/>
                  </a:cubicBezTo>
                  <a:cubicBezTo>
                    <a:pt x="208" y="677"/>
                    <a:pt x="206" y="681"/>
                    <a:pt x="209" y="680"/>
                  </a:cubicBezTo>
                  <a:cubicBezTo>
                    <a:pt x="229" y="715"/>
                    <a:pt x="236" y="735"/>
                    <a:pt x="245" y="754"/>
                  </a:cubicBezTo>
                  <a:cubicBezTo>
                    <a:pt x="265" y="789"/>
                    <a:pt x="268" y="793"/>
                    <a:pt x="268" y="796"/>
                  </a:cubicBezTo>
                  <a:cubicBezTo>
                    <a:pt x="284" y="831"/>
                    <a:pt x="281" y="834"/>
                    <a:pt x="283" y="837"/>
                  </a:cubicBezTo>
                  <a:cubicBezTo>
                    <a:pt x="287" y="855"/>
                    <a:pt x="283" y="857"/>
                    <a:pt x="287" y="859"/>
                  </a:cubicBezTo>
                  <a:cubicBezTo>
                    <a:pt x="285" y="886"/>
                    <a:pt x="282" y="878"/>
                    <a:pt x="285" y="870"/>
                  </a:cubicBezTo>
                  <a:cubicBezTo>
                    <a:pt x="268" y="821"/>
                    <a:pt x="270" y="819"/>
                    <a:pt x="268" y="816"/>
                  </a:cubicBezTo>
                  <a:cubicBezTo>
                    <a:pt x="259" y="786"/>
                    <a:pt x="252" y="782"/>
                    <a:pt x="251" y="779"/>
                  </a:cubicBezTo>
                  <a:cubicBezTo>
                    <a:pt x="234" y="751"/>
                    <a:pt x="238" y="749"/>
                    <a:pt x="234" y="745"/>
                  </a:cubicBezTo>
                  <a:cubicBezTo>
                    <a:pt x="205" y="692"/>
                    <a:pt x="202" y="688"/>
                    <a:pt x="199" y="684"/>
                  </a:cubicBezTo>
                  <a:cubicBezTo>
                    <a:pt x="177" y="630"/>
                    <a:pt x="166" y="611"/>
                    <a:pt x="158" y="593"/>
                  </a:cubicBezTo>
                  <a:cubicBezTo>
                    <a:pt x="147" y="546"/>
                    <a:pt x="142" y="548"/>
                    <a:pt x="140" y="540"/>
                  </a:cubicBezTo>
                  <a:cubicBezTo>
                    <a:pt x="140" y="522"/>
                    <a:pt x="138" y="522"/>
                    <a:pt x="136" y="521"/>
                  </a:cubicBezTo>
                  <a:cubicBezTo>
                    <a:pt x="130" y="496"/>
                    <a:pt x="129" y="493"/>
                    <a:pt x="131" y="490"/>
                  </a:cubicBezTo>
                  <a:cubicBezTo>
                    <a:pt x="122" y="493"/>
                    <a:pt x="128" y="497"/>
                    <a:pt x="125" y="499"/>
                  </a:cubicBezTo>
                  <a:cubicBezTo>
                    <a:pt x="131" y="527"/>
                    <a:pt x="132" y="536"/>
                    <a:pt x="136" y="545"/>
                  </a:cubicBezTo>
                  <a:cubicBezTo>
                    <a:pt x="139" y="569"/>
                    <a:pt x="140" y="574"/>
                    <a:pt x="139" y="580"/>
                  </a:cubicBezTo>
                  <a:cubicBezTo>
                    <a:pt x="160" y="639"/>
                    <a:pt x="161" y="642"/>
                    <a:pt x="159" y="645"/>
                  </a:cubicBezTo>
                  <a:cubicBezTo>
                    <a:pt x="169" y="668"/>
                    <a:pt x="176" y="672"/>
                    <a:pt x="172" y="674"/>
                  </a:cubicBezTo>
                  <a:cubicBezTo>
                    <a:pt x="200" y="724"/>
                    <a:pt x="201" y="738"/>
                    <a:pt x="214" y="755"/>
                  </a:cubicBezTo>
                  <a:cubicBezTo>
                    <a:pt x="236" y="805"/>
                    <a:pt x="246" y="814"/>
                    <a:pt x="247" y="821"/>
                  </a:cubicBezTo>
                  <a:cubicBezTo>
                    <a:pt x="268" y="868"/>
                    <a:pt x="261" y="870"/>
                    <a:pt x="266" y="874"/>
                  </a:cubicBezTo>
                  <a:cubicBezTo>
                    <a:pt x="224" y="800"/>
                    <a:pt x="220" y="795"/>
                    <a:pt x="217" y="789"/>
                  </a:cubicBezTo>
                  <a:cubicBezTo>
                    <a:pt x="185" y="740"/>
                    <a:pt x="190" y="733"/>
                    <a:pt x="185" y="736"/>
                  </a:cubicBezTo>
                  <a:cubicBezTo>
                    <a:pt x="171" y="702"/>
                    <a:pt x="168" y="697"/>
                    <a:pt x="166" y="693"/>
                  </a:cubicBezTo>
                  <a:cubicBezTo>
                    <a:pt x="134" y="606"/>
                    <a:pt x="125" y="601"/>
                    <a:pt x="129" y="597"/>
                  </a:cubicBezTo>
                  <a:cubicBezTo>
                    <a:pt x="119" y="542"/>
                    <a:pt x="118" y="540"/>
                    <a:pt x="116" y="538"/>
                  </a:cubicBezTo>
                  <a:cubicBezTo>
                    <a:pt x="111" y="539"/>
                    <a:pt x="113" y="558"/>
                    <a:pt x="117" y="576"/>
                  </a:cubicBezTo>
                  <a:cubicBezTo>
                    <a:pt x="141" y="650"/>
                    <a:pt x="140" y="667"/>
                    <a:pt x="151" y="685"/>
                  </a:cubicBezTo>
                  <a:cubicBezTo>
                    <a:pt x="194" y="767"/>
                    <a:pt x="201" y="774"/>
                    <a:pt x="207" y="789"/>
                  </a:cubicBezTo>
                  <a:cubicBezTo>
                    <a:pt x="228" y="836"/>
                    <a:pt x="240" y="840"/>
                    <a:pt x="235" y="842"/>
                  </a:cubicBezTo>
                  <a:cubicBezTo>
                    <a:pt x="251" y="882"/>
                    <a:pt x="258" y="889"/>
                    <a:pt x="255" y="894"/>
                  </a:cubicBezTo>
                  <a:cubicBezTo>
                    <a:pt x="228" y="846"/>
                    <a:pt x="227" y="844"/>
                    <a:pt x="225" y="842"/>
                  </a:cubicBezTo>
                  <a:cubicBezTo>
                    <a:pt x="212" y="821"/>
                    <a:pt x="210" y="822"/>
                    <a:pt x="209" y="820"/>
                  </a:cubicBezTo>
                  <a:cubicBezTo>
                    <a:pt x="166" y="769"/>
                    <a:pt x="157" y="757"/>
                    <a:pt x="144" y="743"/>
                  </a:cubicBezTo>
                  <a:cubicBezTo>
                    <a:pt x="123" y="700"/>
                    <a:pt x="116" y="696"/>
                    <a:pt x="115" y="693"/>
                  </a:cubicBezTo>
                  <a:cubicBezTo>
                    <a:pt x="107" y="669"/>
                    <a:pt x="105" y="663"/>
                    <a:pt x="101" y="657"/>
                  </a:cubicBezTo>
                  <a:cubicBezTo>
                    <a:pt x="96" y="630"/>
                    <a:pt x="93" y="623"/>
                    <a:pt x="91" y="615"/>
                  </a:cubicBezTo>
                  <a:cubicBezTo>
                    <a:pt x="87" y="604"/>
                    <a:pt x="82" y="608"/>
                    <a:pt x="85" y="614"/>
                  </a:cubicBezTo>
                  <a:cubicBezTo>
                    <a:pt x="95" y="654"/>
                    <a:pt x="92" y="660"/>
                    <a:pt x="95" y="666"/>
                  </a:cubicBezTo>
                  <a:cubicBezTo>
                    <a:pt x="154" y="770"/>
                    <a:pt x="155" y="771"/>
                    <a:pt x="161" y="778"/>
                  </a:cubicBezTo>
                  <a:cubicBezTo>
                    <a:pt x="204" y="829"/>
                    <a:pt x="208" y="830"/>
                    <a:pt x="211" y="836"/>
                  </a:cubicBezTo>
                  <a:cubicBezTo>
                    <a:pt x="249" y="919"/>
                    <a:pt x="255" y="928"/>
                    <a:pt x="253" y="935"/>
                  </a:cubicBezTo>
                  <a:cubicBezTo>
                    <a:pt x="253" y="956"/>
                    <a:pt x="256" y="954"/>
                    <a:pt x="252" y="951"/>
                  </a:cubicBezTo>
                  <a:cubicBezTo>
                    <a:pt x="255" y="941"/>
                    <a:pt x="249" y="937"/>
                    <a:pt x="247" y="934"/>
                  </a:cubicBezTo>
                  <a:cubicBezTo>
                    <a:pt x="223" y="877"/>
                    <a:pt x="219" y="872"/>
                    <a:pt x="216" y="866"/>
                  </a:cubicBezTo>
                  <a:cubicBezTo>
                    <a:pt x="166" y="796"/>
                    <a:pt x="160" y="792"/>
                    <a:pt x="155" y="782"/>
                  </a:cubicBezTo>
                  <a:cubicBezTo>
                    <a:pt x="107" y="716"/>
                    <a:pt x="103" y="719"/>
                    <a:pt x="103" y="714"/>
                  </a:cubicBezTo>
                  <a:cubicBezTo>
                    <a:pt x="85" y="675"/>
                    <a:pt x="83" y="673"/>
                    <a:pt x="82" y="671"/>
                  </a:cubicBezTo>
                  <a:cubicBezTo>
                    <a:pt x="79" y="658"/>
                    <a:pt x="74" y="655"/>
                    <a:pt x="76" y="653"/>
                  </a:cubicBezTo>
                  <a:cubicBezTo>
                    <a:pt x="72" y="651"/>
                    <a:pt x="73" y="653"/>
                    <a:pt x="70" y="654"/>
                  </a:cubicBezTo>
                  <a:cubicBezTo>
                    <a:pt x="78" y="674"/>
                    <a:pt x="75" y="677"/>
                    <a:pt x="80" y="682"/>
                  </a:cubicBezTo>
                  <a:cubicBezTo>
                    <a:pt x="93" y="713"/>
                    <a:pt x="99" y="721"/>
                    <a:pt x="102" y="730"/>
                  </a:cubicBezTo>
                  <a:cubicBezTo>
                    <a:pt x="168" y="818"/>
                    <a:pt x="173" y="816"/>
                    <a:pt x="176" y="821"/>
                  </a:cubicBezTo>
                  <a:cubicBezTo>
                    <a:pt x="206" y="868"/>
                    <a:pt x="208" y="871"/>
                    <a:pt x="210" y="875"/>
                  </a:cubicBezTo>
                  <a:cubicBezTo>
                    <a:pt x="237" y="926"/>
                    <a:pt x="238" y="934"/>
                    <a:pt x="240" y="942"/>
                  </a:cubicBezTo>
                  <a:cubicBezTo>
                    <a:pt x="254" y="974"/>
                    <a:pt x="251" y="976"/>
                    <a:pt x="252" y="978"/>
                  </a:cubicBezTo>
                  <a:cubicBezTo>
                    <a:pt x="244" y="978"/>
                    <a:pt x="245" y="972"/>
                    <a:pt x="245" y="965"/>
                  </a:cubicBezTo>
                  <a:cubicBezTo>
                    <a:pt x="220" y="909"/>
                    <a:pt x="215" y="897"/>
                    <a:pt x="207" y="885"/>
                  </a:cubicBezTo>
                  <a:cubicBezTo>
                    <a:pt x="195" y="866"/>
                    <a:pt x="195" y="864"/>
                    <a:pt x="193" y="865"/>
                  </a:cubicBezTo>
                  <a:cubicBezTo>
                    <a:pt x="179" y="855"/>
                    <a:pt x="185" y="844"/>
                    <a:pt x="180" y="848"/>
                  </a:cubicBezTo>
                  <a:cubicBezTo>
                    <a:pt x="148" y="807"/>
                    <a:pt x="140" y="795"/>
                    <a:pt x="131" y="783"/>
                  </a:cubicBezTo>
                  <a:cubicBezTo>
                    <a:pt x="118" y="762"/>
                    <a:pt x="110" y="755"/>
                    <a:pt x="106" y="749"/>
                  </a:cubicBezTo>
                  <a:cubicBezTo>
                    <a:pt x="80" y="696"/>
                    <a:pt x="80" y="694"/>
                    <a:pt x="80" y="692"/>
                  </a:cubicBezTo>
                  <a:cubicBezTo>
                    <a:pt x="71" y="664"/>
                    <a:pt x="69" y="658"/>
                    <a:pt x="65" y="661"/>
                  </a:cubicBezTo>
                  <a:cubicBezTo>
                    <a:pt x="71" y="688"/>
                    <a:pt x="73" y="693"/>
                    <a:pt x="76" y="697"/>
                  </a:cubicBezTo>
                  <a:cubicBezTo>
                    <a:pt x="113" y="772"/>
                    <a:pt x="120" y="781"/>
                    <a:pt x="125" y="789"/>
                  </a:cubicBezTo>
                  <a:cubicBezTo>
                    <a:pt x="135" y="803"/>
                    <a:pt x="136" y="809"/>
                    <a:pt x="140" y="813"/>
                  </a:cubicBezTo>
                  <a:cubicBezTo>
                    <a:pt x="178" y="859"/>
                    <a:pt x="181" y="858"/>
                    <a:pt x="179" y="860"/>
                  </a:cubicBezTo>
                  <a:cubicBezTo>
                    <a:pt x="193" y="881"/>
                    <a:pt x="195" y="882"/>
                    <a:pt x="198" y="889"/>
                  </a:cubicBezTo>
                  <a:cubicBezTo>
                    <a:pt x="227" y="944"/>
                    <a:pt x="231" y="952"/>
                    <a:pt x="235" y="961"/>
                  </a:cubicBezTo>
                  <a:cubicBezTo>
                    <a:pt x="244" y="999"/>
                    <a:pt x="243" y="1002"/>
                    <a:pt x="242" y="1005"/>
                  </a:cubicBezTo>
                  <a:cubicBezTo>
                    <a:pt x="238" y="996"/>
                    <a:pt x="233" y="991"/>
                    <a:pt x="234" y="988"/>
                  </a:cubicBezTo>
                  <a:cubicBezTo>
                    <a:pt x="225" y="962"/>
                    <a:pt x="224" y="959"/>
                    <a:pt x="222" y="957"/>
                  </a:cubicBezTo>
                  <a:cubicBezTo>
                    <a:pt x="210" y="930"/>
                    <a:pt x="207" y="921"/>
                    <a:pt x="204" y="912"/>
                  </a:cubicBezTo>
                  <a:cubicBezTo>
                    <a:pt x="190" y="898"/>
                    <a:pt x="190" y="892"/>
                    <a:pt x="189" y="891"/>
                  </a:cubicBezTo>
                  <a:cubicBezTo>
                    <a:pt x="171" y="869"/>
                    <a:pt x="172" y="868"/>
                    <a:pt x="171" y="866"/>
                  </a:cubicBezTo>
                  <a:cubicBezTo>
                    <a:pt x="166" y="860"/>
                    <a:pt x="165" y="861"/>
                    <a:pt x="164" y="859"/>
                  </a:cubicBezTo>
                  <a:cubicBezTo>
                    <a:pt x="156" y="850"/>
                    <a:pt x="152" y="845"/>
                    <a:pt x="148" y="841"/>
                  </a:cubicBezTo>
                  <a:cubicBezTo>
                    <a:pt x="65" y="711"/>
                    <a:pt x="53" y="694"/>
                    <a:pt x="50" y="678"/>
                  </a:cubicBezTo>
                  <a:cubicBezTo>
                    <a:pt x="50" y="701"/>
                    <a:pt x="55" y="704"/>
                    <a:pt x="53" y="706"/>
                  </a:cubicBezTo>
                  <a:cubicBezTo>
                    <a:pt x="169" y="875"/>
                    <a:pt x="172" y="884"/>
                    <a:pt x="197" y="919"/>
                  </a:cubicBezTo>
                  <a:cubicBezTo>
                    <a:pt x="218" y="976"/>
                    <a:pt x="221" y="979"/>
                    <a:pt x="224" y="983"/>
                  </a:cubicBezTo>
                  <a:cubicBezTo>
                    <a:pt x="228" y="1009"/>
                    <a:pt x="232" y="1014"/>
                    <a:pt x="228" y="1017"/>
                  </a:cubicBezTo>
                  <a:cubicBezTo>
                    <a:pt x="224" y="1004"/>
                    <a:pt x="219" y="996"/>
                    <a:pt x="221" y="990"/>
                  </a:cubicBezTo>
                  <a:cubicBezTo>
                    <a:pt x="201" y="949"/>
                    <a:pt x="198" y="938"/>
                    <a:pt x="196" y="934"/>
                  </a:cubicBezTo>
                  <a:cubicBezTo>
                    <a:pt x="166" y="892"/>
                    <a:pt x="165" y="887"/>
                    <a:pt x="163" y="885"/>
                  </a:cubicBezTo>
                  <a:cubicBezTo>
                    <a:pt x="129" y="843"/>
                    <a:pt x="120" y="840"/>
                    <a:pt x="115" y="826"/>
                  </a:cubicBezTo>
                  <a:cubicBezTo>
                    <a:pt x="95" y="810"/>
                    <a:pt x="100" y="803"/>
                    <a:pt x="95" y="801"/>
                  </a:cubicBezTo>
                  <a:cubicBezTo>
                    <a:pt x="58" y="746"/>
                    <a:pt x="61" y="750"/>
                    <a:pt x="63" y="753"/>
                  </a:cubicBezTo>
                  <a:cubicBezTo>
                    <a:pt x="73" y="778"/>
                    <a:pt x="76" y="782"/>
                    <a:pt x="79" y="786"/>
                  </a:cubicBezTo>
                  <a:cubicBezTo>
                    <a:pt x="96" y="817"/>
                    <a:pt x="95" y="817"/>
                    <a:pt x="101" y="826"/>
                  </a:cubicBezTo>
                  <a:cubicBezTo>
                    <a:pt x="112" y="844"/>
                    <a:pt x="119" y="843"/>
                    <a:pt x="118" y="851"/>
                  </a:cubicBezTo>
                  <a:cubicBezTo>
                    <a:pt x="187" y="941"/>
                    <a:pt x="193" y="948"/>
                    <a:pt x="198" y="955"/>
                  </a:cubicBezTo>
                  <a:cubicBezTo>
                    <a:pt x="206" y="972"/>
                    <a:pt x="204" y="974"/>
                    <a:pt x="206" y="976"/>
                  </a:cubicBezTo>
                  <a:cubicBezTo>
                    <a:pt x="210" y="996"/>
                    <a:pt x="210" y="999"/>
                    <a:pt x="212" y="1001"/>
                  </a:cubicBezTo>
                  <a:cubicBezTo>
                    <a:pt x="219" y="1030"/>
                    <a:pt x="221" y="1035"/>
                    <a:pt x="219" y="1038"/>
                  </a:cubicBezTo>
                  <a:cubicBezTo>
                    <a:pt x="213" y="1023"/>
                    <a:pt x="208" y="1019"/>
                    <a:pt x="207" y="1015"/>
                  </a:cubicBezTo>
                  <a:cubicBezTo>
                    <a:pt x="176" y="958"/>
                    <a:pt x="173" y="948"/>
                    <a:pt x="164" y="941"/>
                  </a:cubicBezTo>
                  <a:cubicBezTo>
                    <a:pt x="138" y="898"/>
                    <a:pt x="141" y="893"/>
                    <a:pt x="136" y="892"/>
                  </a:cubicBezTo>
                  <a:cubicBezTo>
                    <a:pt x="80" y="806"/>
                    <a:pt x="75" y="794"/>
                    <a:pt x="68" y="781"/>
                  </a:cubicBezTo>
                  <a:cubicBezTo>
                    <a:pt x="55" y="735"/>
                    <a:pt x="49" y="731"/>
                    <a:pt x="52" y="729"/>
                  </a:cubicBezTo>
                  <a:cubicBezTo>
                    <a:pt x="46" y="719"/>
                    <a:pt x="43" y="724"/>
                    <a:pt x="46" y="731"/>
                  </a:cubicBezTo>
                  <a:cubicBezTo>
                    <a:pt x="61" y="773"/>
                    <a:pt x="58" y="778"/>
                    <a:pt x="63" y="785"/>
                  </a:cubicBezTo>
                  <a:cubicBezTo>
                    <a:pt x="108" y="861"/>
                    <a:pt x="106" y="867"/>
                    <a:pt x="113" y="874"/>
                  </a:cubicBezTo>
                  <a:cubicBezTo>
                    <a:pt x="153" y="937"/>
                    <a:pt x="160" y="950"/>
                    <a:pt x="170" y="963"/>
                  </a:cubicBezTo>
                  <a:cubicBezTo>
                    <a:pt x="201" y="1018"/>
                    <a:pt x="197" y="1023"/>
                    <a:pt x="203" y="1030"/>
                  </a:cubicBezTo>
                  <a:cubicBezTo>
                    <a:pt x="212" y="1054"/>
                    <a:pt x="211" y="1060"/>
                    <a:pt x="215" y="1066"/>
                  </a:cubicBezTo>
                  <a:cubicBezTo>
                    <a:pt x="213" y="1076"/>
                    <a:pt x="211" y="1072"/>
                    <a:pt x="209" y="1068"/>
                  </a:cubicBezTo>
                  <a:cubicBezTo>
                    <a:pt x="192" y="1018"/>
                    <a:pt x="185" y="1004"/>
                    <a:pt x="179" y="986"/>
                  </a:cubicBezTo>
                  <a:cubicBezTo>
                    <a:pt x="167" y="965"/>
                    <a:pt x="163" y="959"/>
                    <a:pt x="162" y="959"/>
                  </a:cubicBezTo>
                  <a:cubicBezTo>
                    <a:pt x="150" y="943"/>
                    <a:pt x="146" y="939"/>
                    <a:pt x="143" y="936"/>
                  </a:cubicBezTo>
                  <a:cubicBezTo>
                    <a:pt x="94" y="874"/>
                    <a:pt x="79" y="852"/>
                    <a:pt x="64" y="833"/>
                  </a:cubicBezTo>
                  <a:cubicBezTo>
                    <a:pt x="39" y="757"/>
                    <a:pt x="29" y="752"/>
                    <a:pt x="35" y="749"/>
                  </a:cubicBezTo>
                  <a:cubicBezTo>
                    <a:pt x="29" y="755"/>
                    <a:pt x="31" y="759"/>
                    <a:pt x="33" y="763"/>
                  </a:cubicBezTo>
                  <a:cubicBezTo>
                    <a:pt x="44" y="793"/>
                    <a:pt x="39" y="799"/>
                    <a:pt x="45" y="807"/>
                  </a:cubicBezTo>
                  <a:cubicBezTo>
                    <a:pt x="89" y="874"/>
                    <a:pt x="113" y="915"/>
                    <a:pt x="129" y="931"/>
                  </a:cubicBezTo>
                  <a:cubicBezTo>
                    <a:pt x="153" y="967"/>
                    <a:pt x="164" y="977"/>
                    <a:pt x="170" y="987"/>
                  </a:cubicBezTo>
                  <a:cubicBezTo>
                    <a:pt x="186" y="1036"/>
                    <a:pt x="176" y="1025"/>
                    <a:pt x="171" y="1012"/>
                  </a:cubicBezTo>
                  <a:cubicBezTo>
                    <a:pt x="150" y="985"/>
                    <a:pt x="142" y="980"/>
                    <a:pt x="145" y="976"/>
                  </a:cubicBezTo>
                  <a:cubicBezTo>
                    <a:pt x="89" y="910"/>
                    <a:pt x="75" y="887"/>
                    <a:pt x="51" y="850"/>
                  </a:cubicBezTo>
                  <a:cubicBezTo>
                    <a:pt x="32" y="802"/>
                    <a:pt x="32" y="799"/>
                    <a:pt x="33" y="797"/>
                  </a:cubicBezTo>
                  <a:cubicBezTo>
                    <a:pt x="29" y="798"/>
                    <a:pt x="29" y="800"/>
                    <a:pt x="29" y="802"/>
                  </a:cubicBezTo>
                  <a:cubicBezTo>
                    <a:pt x="34" y="829"/>
                    <a:pt x="41" y="834"/>
                    <a:pt x="38" y="838"/>
                  </a:cubicBezTo>
                  <a:cubicBezTo>
                    <a:pt x="56" y="874"/>
                    <a:pt x="56" y="876"/>
                    <a:pt x="56" y="876"/>
                  </a:cubicBezTo>
                  <a:cubicBezTo>
                    <a:pt x="77" y="905"/>
                    <a:pt x="93" y="930"/>
                    <a:pt x="103" y="938"/>
                  </a:cubicBezTo>
                  <a:cubicBezTo>
                    <a:pt x="143" y="990"/>
                    <a:pt x="145" y="993"/>
                    <a:pt x="147" y="997"/>
                  </a:cubicBezTo>
                  <a:cubicBezTo>
                    <a:pt x="170" y="1023"/>
                    <a:pt x="170" y="1030"/>
                    <a:pt x="170" y="1032"/>
                  </a:cubicBezTo>
                  <a:cubicBezTo>
                    <a:pt x="192" y="1072"/>
                    <a:pt x="200" y="1081"/>
                    <a:pt x="202" y="1090"/>
                  </a:cubicBezTo>
                  <a:cubicBezTo>
                    <a:pt x="202" y="1098"/>
                    <a:pt x="196" y="1094"/>
                    <a:pt x="199" y="1092"/>
                  </a:cubicBezTo>
                  <a:cubicBezTo>
                    <a:pt x="171" y="1039"/>
                    <a:pt x="164" y="1029"/>
                    <a:pt x="160" y="1024"/>
                  </a:cubicBezTo>
                  <a:cubicBezTo>
                    <a:pt x="153" y="1014"/>
                    <a:pt x="150" y="1010"/>
                    <a:pt x="146" y="1005"/>
                  </a:cubicBezTo>
                  <a:cubicBezTo>
                    <a:pt x="40" y="864"/>
                    <a:pt x="36" y="858"/>
                    <a:pt x="31" y="852"/>
                  </a:cubicBezTo>
                  <a:cubicBezTo>
                    <a:pt x="22" y="845"/>
                    <a:pt x="25" y="854"/>
                    <a:pt x="29" y="863"/>
                  </a:cubicBezTo>
                  <a:cubicBezTo>
                    <a:pt x="50" y="911"/>
                    <a:pt x="48" y="916"/>
                    <a:pt x="54" y="922"/>
                  </a:cubicBezTo>
                  <a:cubicBezTo>
                    <a:pt x="84" y="967"/>
                    <a:pt x="81" y="972"/>
                    <a:pt x="86" y="972"/>
                  </a:cubicBezTo>
                  <a:cubicBezTo>
                    <a:pt x="97" y="985"/>
                    <a:pt x="95" y="988"/>
                    <a:pt x="95" y="988"/>
                  </a:cubicBezTo>
                  <a:cubicBezTo>
                    <a:pt x="134" y="1039"/>
                    <a:pt x="133" y="1041"/>
                    <a:pt x="134" y="1043"/>
                  </a:cubicBezTo>
                  <a:cubicBezTo>
                    <a:pt x="154" y="1066"/>
                    <a:pt x="152" y="1068"/>
                    <a:pt x="153" y="1069"/>
                  </a:cubicBezTo>
                  <a:cubicBezTo>
                    <a:pt x="163" y="1084"/>
                    <a:pt x="168" y="1094"/>
                    <a:pt x="176" y="1104"/>
                  </a:cubicBezTo>
                  <a:cubicBezTo>
                    <a:pt x="193" y="1150"/>
                    <a:pt x="191" y="1152"/>
                    <a:pt x="193" y="1155"/>
                  </a:cubicBezTo>
                  <a:cubicBezTo>
                    <a:pt x="174" y="1126"/>
                    <a:pt x="178" y="1120"/>
                    <a:pt x="173" y="1121"/>
                  </a:cubicBezTo>
                  <a:cubicBezTo>
                    <a:pt x="150" y="1085"/>
                    <a:pt x="146" y="1076"/>
                    <a:pt x="137" y="1068"/>
                  </a:cubicBezTo>
                  <a:cubicBezTo>
                    <a:pt x="122" y="1043"/>
                    <a:pt x="118" y="1038"/>
                    <a:pt x="116" y="1034"/>
                  </a:cubicBezTo>
                  <a:cubicBezTo>
                    <a:pt x="107" y="1023"/>
                    <a:pt x="105" y="1016"/>
                    <a:pt x="100" y="1009"/>
                  </a:cubicBezTo>
                  <a:cubicBezTo>
                    <a:pt x="90" y="998"/>
                    <a:pt x="92" y="997"/>
                    <a:pt x="89" y="997"/>
                  </a:cubicBezTo>
                  <a:cubicBezTo>
                    <a:pt x="85" y="986"/>
                    <a:pt x="82" y="987"/>
                    <a:pt x="82" y="987"/>
                  </a:cubicBezTo>
                  <a:cubicBezTo>
                    <a:pt x="53" y="952"/>
                    <a:pt x="52" y="942"/>
                    <a:pt x="49" y="942"/>
                  </a:cubicBezTo>
                  <a:cubicBezTo>
                    <a:pt x="31" y="899"/>
                    <a:pt x="22" y="894"/>
                    <a:pt x="26" y="890"/>
                  </a:cubicBezTo>
                  <a:cubicBezTo>
                    <a:pt x="40" y="944"/>
                    <a:pt x="46" y="951"/>
                    <a:pt x="50" y="957"/>
                  </a:cubicBezTo>
                  <a:cubicBezTo>
                    <a:pt x="55" y="964"/>
                    <a:pt x="54" y="966"/>
                    <a:pt x="55" y="967"/>
                  </a:cubicBezTo>
                  <a:cubicBezTo>
                    <a:pt x="62" y="976"/>
                    <a:pt x="63" y="974"/>
                    <a:pt x="64" y="976"/>
                  </a:cubicBezTo>
                  <a:cubicBezTo>
                    <a:pt x="71" y="991"/>
                    <a:pt x="75" y="992"/>
                    <a:pt x="75" y="992"/>
                  </a:cubicBezTo>
                  <a:cubicBezTo>
                    <a:pt x="87" y="1006"/>
                    <a:pt x="91" y="1013"/>
                    <a:pt x="94" y="1018"/>
                  </a:cubicBezTo>
                  <a:cubicBezTo>
                    <a:pt x="102" y="1029"/>
                    <a:pt x="101" y="1031"/>
                    <a:pt x="102" y="1032"/>
                  </a:cubicBezTo>
                  <a:cubicBezTo>
                    <a:pt x="136" y="1079"/>
                    <a:pt x="145" y="1091"/>
                    <a:pt x="153" y="1103"/>
                  </a:cubicBezTo>
                  <a:cubicBezTo>
                    <a:pt x="187" y="1163"/>
                    <a:pt x="182" y="1168"/>
                    <a:pt x="186" y="1173"/>
                  </a:cubicBezTo>
                  <a:cubicBezTo>
                    <a:pt x="178" y="1170"/>
                    <a:pt x="174" y="1167"/>
                    <a:pt x="173" y="1165"/>
                  </a:cubicBezTo>
                  <a:cubicBezTo>
                    <a:pt x="155" y="1142"/>
                    <a:pt x="146" y="1120"/>
                    <a:pt x="135" y="1111"/>
                  </a:cubicBezTo>
                  <a:cubicBezTo>
                    <a:pt x="110" y="1078"/>
                    <a:pt x="102" y="1080"/>
                    <a:pt x="106" y="1076"/>
                  </a:cubicBezTo>
                  <a:cubicBezTo>
                    <a:pt x="83" y="1057"/>
                    <a:pt x="75" y="1040"/>
                    <a:pt x="65" y="1032"/>
                  </a:cubicBezTo>
                  <a:cubicBezTo>
                    <a:pt x="32" y="978"/>
                    <a:pt x="31" y="976"/>
                    <a:pt x="24" y="965"/>
                  </a:cubicBezTo>
                  <a:cubicBezTo>
                    <a:pt x="9" y="949"/>
                    <a:pt x="15" y="952"/>
                    <a:pt x="15" y="957"/>
                  </a:cubicBezTo>
                  <a:cubicBezTo>
                    <a:pt x="47" y="1023"/>
                    <a:pt x="52" y="1028"/>
                    <a:pt x="57" y="1035"/>
                  </a:cubicBezTo>
                  <a:cubicBezTo>
                    <a:pt x="102" y="1083"/>
                    <a:pt x="107" y="1092"/>
                    <a:pt x="113" y="1095"/>
                  </a:cubicBezTo>
                  <a:cubicBezTo>
                    <a:pt x="149" y="1143"/>
                    <a:pt x="150" y="1151"/>
                    <a:pt x="154" y="1149"/>
                  </a:cubicBezTo>
                  <a:cubicBezTo>
                    <a:pt x="174" y="1202"/>
                    <a:pt x="185" y="1210"/>
                    <a:pt x="182" y="1215"/>
                  </a:cubicBezTo>
                  <a:cubicBezTo>
                    <a:pt x="168" y="1179"/>
                    <a:pt x="159" y="1180"/>
                    <a:pt x="162" y="1177"/>
                  </a:cubicBezTo>
                  <a:cubicBezTo>
                    <a:pt x="140" y="1153"/>
                    <a:pt x="142" y="1142"/>
                    <a:pt x="135" y="1136"/>
                  </a:cubicBezTo>
                  <a:cubicBezTo>
                    <a:pt x="98" y="1090"/>
                    <a:pt x="95" y="1086"/>
                    <a:pt x="92" y="1086"/>
                  </a:cubicBezTo>
                  <a:cubicBezTo>
                    <a:pt x="82" y="1073"/>
                    <a:pt x="82" y="1071"/>
                    <a:pt x="82" y="1069"/>
                  </a:cubicBezTo>
                  <a:cubicBezTo>
                    <a:pt x="44" y="1034"/>
                    <a:pt x="41" y="1030"/>
                    <a:pt x="39" y="1026"/>
                  </a:cubicBezTo>
                  <a:cubicBezTo>
                    <a:pt x="13" y="992"/>
                    <a:pt x="16" y="996"/>
                    <a:pt x="17" y="1000"/>
                  </a:cubicBezTo>
                  <a:cubicBezTo>
                    <a:pt x="48" y="1041"/>
                    <a:pt x="46" y="1053"/>
                    <a:pt x="55" y="1056"/>
                  </a:cubicBezTo>
                  <a:cubicBezTo>
                    <a:pt x="80" y="1083"/>
                    <a:pt x="81" y="1085"/>
                    <a:pt x="83" y="1087"/>
                  </a:cubicBezTo>
                  <a:cubicBezTo>
                    <a:pt x="89" y="1101"/>
                    <a:pt x="103" y="1099"/>
                    <a:pt x="97" y="1104"/>
                  </a:cubicBezTo>
                  <a:cubicBezTo>
                    <a:pt x="125" y="1140"/>
                    <a:pt x="131" y="1145"/>
                    <a:pt x="130" y="1149"/>
                  </a:cubicBezTo>
                  <a:cubicBezTo>
                    <a:pt x="93" y="1107"/>
                    <a:pt x="89" y="1106"/>
                    <a:pt x="86" y="1102"/>
                  </a:cubicBezTo>
                  <a:cubicBezTo>
                    <a:pt x="63" y="1079"/>
                    <a:pt x="59" y="1075"/>
                    <a:pt x="55" y="1073"/>
                  </a:cubicBezTo>
                  <a:cubicBezTo>
                    <a:pt x="0" y="1009"/>
                    <a:pt x="9" y="1016"/>
                    <a:pt x="8" y="1021"/>
                  </a:cubicBezTo>
                  <a:cubicBezTo>
                    <a:pt x="27" y="1050"/>
                    <a:pt x="29" y="1050"/>
                    <a:pt x="30" y="1052"/>
                  </a:cubicBezTo>
                  <a:cubicBezTo>
                    <a:pt x="33" y="1062"/>
                    <a:pt x="38" y="1060"/>
                    <a:pt x="41" y="1066"/>
                  </a:cubicBezTo>
                  <a:cubicBezTo>
                    <a:pt x="86" y="1110"/>
                    <a:pt x="90" y="1120"/>
                    <a:pt x="96" y="1122"/>
                  </a:cubicBezTo>
                  <a:cubicBezTo>
                    <a:pt x="118" y="1149"/>
                    <a:pt x="127" y="1163"/>
                    <a:pt x="137" y="1176"/>
                  </a:cubicBezTo>
                  <a:cubicBezTo>
                    <a:pt x="148" y="1204"/>
                    <a:pt x="162" y="1211"/>
                    <a:pt x="158" y="1215"/>
                  </a:cubicBezTo>
                  <a:cubicBezTo>
                    <a:pt x="165" y="1240"/>
                    <a:pt x="164" y="1234"/>
                    <a:pt x="163" y="1229"/>
                  </a:cubicBezTo>
                  <a:cubicBezTo>
                    <a:pt x="151" y="1205"/>
                    <a:pt x="144" y="1201"/>
                    <a:pt x="143" y="1199"/>
                  </a:cubicBezTo>
                  <a:cubicBezTo>
                    <a:pt x="118" y="1171"/>
                    <a:pt x="122" y="1166"/>
                    <a:pt x="116" y="1164"/>
                  </a:cubicBezTo>
                  <a:cubicBezTo>
                    <a:pt x="82" y="1123"/>
                    <a:pt x="68" y="1114"/>
                    <a:pt x="60" y="1107"/>
                  </a:cubicBezTo>
                  <a:cubicBezTo>
                    <a:pt x="19" y="1050"/>
                    <a:pt x="22" y="1042"/>
                    <a:pt x="13" y="1042"/>
                  </a:cubicBezTo>
                  <a:cubicBezTo>
                    <a:pt x="62" y="1117"/>
                    <a:pt x="74" y="1136"/>
                    <a:pt x="95" y="1152"/>
                  </a:cubicBezTo>
                  <a:cubicBezTo>
                    <a:pt x="135" y="1204"/>
                    <a:pt x="140" y="1211"/>
                    <a:pt x="145" y="1217"/>
                  </a:cubicBezTo>
                  <a:cubicBezTo>
                    <a:pt x="170" y="1269"/>
                    <a:pt x="166" y="1271"/>
                    <a:pt x="171" y="1274"/>
                  </a:cubicBezTo>
                  <a:cubicBezTo>
                    <a:pt x="178" y="1302"/>
                    <a:pt x="178" y="1304"/>
                    <a:pt x="177" y="1307"/>
                  </a:cubicBezTo>
                  <a:cubicBezTo>
                    <a:pt x="169" y="1297"/>
                    <a:pt x="173" y="1295"/>
                    <a:pt x="168" y="1291"/>
                  </a:cubicBezTo>
                  <a:cubicBezTo>
                    <a:pt x="133" y="1236"/>
                    <a:pt x="128" y="1228"/>
                    <a:pt x="116" y="1208"/>
                  </a:cubicBezTo>
                  <a:cubicBezTo>
                    <a:pt x="41" y="1115"/>
                    <a:pt x="40" y="1112"/>
                    <a:pt x="37" y="1109"/>
                  </a:cubicBezTo>
                  <a:cubicBezTo>
                    <a:pt x="25" y="1086"/>
                    <a:pt x="30" y="1079"/>
                    <a:pt x="24" y="1081"/>
                  </a:cubicBezTo>
                  <a:cubicBezTo>
                    <a:pt x="59" y="1159"/>
                    <a:pt x="64" y="1161"/>
                    <a:pt x="69" y="1166"/>
                  </a:cubicBezTo>
                  <a:cubicBezTo>
                    <a:pt x="116" y="1220"/>
                    <a:pt x="123" y="1241"/>
                    <a:pt x="133" y="1245"/>
                  </a:cubicBezTo>
                  <a:cubicBezTo>
                    <a:pt x="146" y="1275"/>
                    <a:pt x="149" y="1274"/>
                    <a:pt x="153" y="1283"/>
                  </a:cubicBezTo>
                  <a:cubicBezTo>
                    <a:pt x="167" y="1322"/>
                    <a:pt x="173" y="1328"/>
                    <a:pt x="172" y="1333"/>
                  </a:cubicBezTo>
                  <a:cubicBezTo>
                    <a:pt x="172" y="1344"/>
                    <a:pt x="171" y="1342"/>
                    <a:pt x="167" y="1341"/>
                  </a:cubicBezTo>
                  <a:cubicBezTo>
                    <a:pt x="163" y="1322"/>
                    <a:pt x="155" y="1318"/>
                    <a:pt x="159" y="1315"/>
                  </a:cubicBezTo>
                  <a:cubicBezTo>
                    <a:pt x="128" y="1261"/>
                    <a:pt x="129" y="1259"/>
                    <a:pt x="117" y="1247"/>
                  </a:cubicBezTo>
                  <a:cubicBezTo>
                    <a:pt x="67" y="1189"/>
                    <a:pt x="67" y="1186"/>
                    <a:pt x="62" y="1181"/>
                  </a:cubicBezTo>
                  <a:cubicBezTo>
                    <a:pt x="50" y="1165"/>
                    <a:pt x="47" y="1166"/>
                    <a:pt x="49" y="1163"/>
                  </a:cubicBezTo>
                  <a:cubicBezTo>
                    <a:pt x="12" y="1111"/>
                    <a:pt x="15" y="1107"/>
                    <a:pt x="9" y="1101"/>
                  </a:cubicBezTo>
                  <a:cubicBezTo>
                    <a:pt x="13" y="1122"/>
                    <a:pt x="19" y="1126"/>
                    <a:pt x="16" y="1128"/>
                  </a:cubicBezTo>
                  <a:cubicBezTo>
                    <a:pt x="47" y="1180"/>
                    <a:pt x="52" y="1178"/>
                    <a:pt x="54" y="1184"/>
                  </a:cubicBezTo>
                  <a:cubicBezTo>
                    <a:pt x="108" y="1249"/>
                    <a:pt x="110" y="1258"/>
                    <a:pt x="114" y="1257"/>
                  </a:cubicBezTo>
                  <a:cubicBezTo>
                    <a:pt x="108" y="1251"/>
                    <a:pt x="101" y="1249"/>
                    <a:pt x="97" y="1247"/>
                  </a:cubicBezTo>
                  <a:cubicBezTo>
                    <a:pt x="70" y="1217"/>
                    <a:pt x="67" y="1206"/>
                    <a:pt x="63" y="1203"/>
                  </a:cubicBezTo>
                  <a:cubicBezTo>
                    <a:pt x="43" y="1184"/>
                    <a:pt x="42" y="1180"/>
                    <a:pt x="40" y="1177"/>
                  </a:cubicBezTo>
                  <a:cubicBezTo>
                    <a:pt x="2" y="1139"/>
                    <a:pt x="9" y="1144"/>
                    <a:pt x="8" y="1147"/>
                  </a:cubicBezTo>
                  <a:cubicBezTo>
                    <a:pt x="31" y="1180"/>
                    <a:pt x="28" y="1183"/>
                    <a:pt x="34" y="1187"/>
                  </a:cubicBezTo>
                  <a:cubicBezTo>
                    <a:pt x="104" y="1266"/>
                    <a:pt x="106" y="1270"/>
                    <a:pt x="109" y="1273"/>
                  </a:cubicBezTo>
                  <a:cubicBezTo>
                    <a:pt x="130" y="1308"/>
                    <a:pt x="136" y="1314"/>
                    <a:pt x="138" y="1320"/>
                  </a:cubicBezTo>
                  <a:cubicBezTo>
                    <a:pt x="148" y="1353"/>
                    <a:pt x="160" y="1358"/>
                    <a:pt x="154" y="1360"/>
                  </a:cubicBezTo>
                  <a:cubicBezTo>
                    <a:pt x="143" y="1349"/>
                    <a:pt x="143" y="1342"/>
                    <a:pt x="136" y="1334"/>
                  </a:cubicBezTo>
                  <a:cubicBezTo>
                    <a:pt x="102" y="1286"/>
                    <a:pt x="93" y="1279"/>
                    <a:pt x="95" y="1275"/>
                  </a:cubicBezTo>
                  <a:cubicBezTo>
                    <a:pt x="30" y="1202"/>
                    <a:pt x="24" y="1194"/>
                    <a:pt x="18" y="1185"/>
                  </a:cubicBezTo>
                  <a:cubicBezTo>
                    <a:pt x="17" y="1202"/>
                    <a:pt x="20" y="1204"/>
                    <a:pt x="22" y="1205"/>
                  </a:cubicBezTo>
                  <a:cubicBezTo>
                    <a:pt x="28" y="1233"/>
                    <a:pt x="31" y="1245"/>
                    <a:pt x="36" y="1247"/>
                  </a:cubicBezTo>
                  <a:cubicBezTo>
                    <a:pt x="44" y="1265"/>
                    <a:pt x="42" y="1268"/>
                    <a:pt x="45" y="1267"/>
                  </a:cubicBezTo>
                  <a:cubicBezTo>
                    <a:pt x="78" y="1315"/>
                    <a:pt x="77" y="1317"/>
                    <a:pt x="84" y="1325"/>
                  </a:cubicBezTo>
                  <a:cubicBezTo>
                    <a:pt x="106" y="1353"/>
                    <a:pt x="114" y="1357"/>
                    <a:pt x="107" y="1360"/>
                  </a:cubicBezTo>
                  <a:cubicBezTo>
                    <a:pt x="74" y="1315"/>
                    <a:pt x="69" y="1314"/>
                    <a:pt x="66" y="1306"/>
                  </a:cubicBezTo>
                  <a:cubicBezTo>
                    <a:pt x="42" y="1273"/>
                    <a:pt x="39" y="1262"/>
                    <a:pt x="33" y="1256"/>
                  </a:cubicBezTo>
                  <a:cubicBezTo>
                    <a:pt x="26" y="1249"/>
                    <a:pt x="31" y="1241"/>
                    <a:pt x="27" y="1238"/>
                  </a:cubicBezTo>
                  <a:cubicBezTo>
                    <a:pt x="23" y="1255"/>
                    <a:pt x="30" y="1264"/>
                    <a:pt x="33" y="1273"/>
                  </a:cubicBezTo>
                  <a:cubicBezTo>
                    <a:pt x="72" y="1327"/>
                    <a:pt x="77" y="1337"/>
                    <a:pt x="86" y="1343"/>
                  </a:cubicBezTo>
                  <a:cubicBezTo>
                    <a:pt x="91" y="1356"/>
                    <a:pt x="95" y="1356"/>
                    <a:pt x="95" y="1356"/>
                  </a:cubicBezTo>
                  <a:cubicBezTo>
                    <a:pt x="113" y="1378"/>
                    <a:pt x="122" y="1391"/>
                    <a:pt x="131" y="1399"/>
                  </a:cubicBezTo>
                  <a:cubicBezTo>
                    <a:pt x="141" y="1414"/>
                    <a:pt x="144" y="1416"/>
                    <a:pt x="146" y="1420"/>
                  </a:cubicBezTo>
                  <a:cubicBezTo>
                    <a:pt x="142" y="1419"/>
                    <a:pt x="139" y="1422"/>
                    <a:pt x="137" y="1417"/>
                  </a:cubicBezTo>
                  <a:cubicBezTo>
                    <a:pt x="104" y="1393"/>
                    <a:pt x="99" y="1389"/>
                    <a:pt x="94" y="1389"/>
                  </a:cubicBezTo>
                  <a:cubicBezTo>
                    <a:pt x="39" y="1357"/>
                    <a:pt x="44" y="1357"/>
                    <a:pt x="47" y="1361"/>
                  </a:cubicBezTo>
                  <a:cubicBezTo>
                    <a:pt x="73" y="1381"/>
                    <a:pt x="77" y="1386"/>
                    <a:pt x="82" y="1385"/>
                  </a:cubicBezTo>
                  <a:cubicBezTo>
                    <a:pt x="123" y="1414"/>
                    <a:pt x="127" y="1423"/>
                    <a:pt x="131" y="1423"/>
                  </a:cubicBezTo>
                  <a:cubicBezTo>
                    <a:pt x="163" y="1460"/>
                    <a:pt x="167" y="1459"/>
                    <a:pt x="169" y="1462"/>
                  </a:cubicBezTo>
                  <a:cubicBezTo>
                    <a:pt x="183" y="1480"/>
                    <a:pt x="180" y="1489"/>
                    <a:pt x="185" y="1495"/>
                  </a:cubicBezTo>
                  <a:cubicBezTo>
                    <a:pt x="198" y="1470"/>
                    <a:pt x="199" y="1467"/>
                    <a:pt x="200" y="1465"/>
                  </a:cubicBezTo>
                  <a:cubicBezTo>
                    <a:pt x="239" y="1447"/>
                    <a:pt x="243" y="1445"/>
                    <a:pt x="246" y="1443"/>
                  </a:cubicBezTo>
                  <a:cubicBezTo>
                    <a:pt x="237" y="1440"/>
                    <a:pt x="233" y="1441"/>
                    <a:pt x="230" y="1441"/>
                  </a:cubicBezTo>
                  <a:cubicBezTo>
                    <a:pt x="214" y="1443"/>
                    <a:pt x="212" y="1436"/>
                    <a:pt x="217" y="1430"/>
                  </a:cubicBezTo>
                  <a:cubicBezTo>
                    <a:pt x="295" y="1389"/>
                    <a:pt x="303" y="1382"/>
                    <a:pt x="310" y="1385"/>
                  </a:cubicBezTo>
                  <a:cubicBezTo>
                    <a:pt x="381" y="1375"/>
                    <a:pt x="383" y="1379"/>
                    <a:pt x="388" y="1373"/>
                  </a:cubicBezTo>
                  <a:cubicBezTo>
                    <a:pt x="426" y="1368"/>
                    <a:pt x="430" y="1366"/>
                    <a:pt x="433" y="1365"/>
                  </a:cubicBezTo>
                  <a:cubicBezTo>
                    <a:pt x="449" y="1360"/>
                    <a:pt x="453" y="1363"/>
                    <a:pt x="457" y="1358"/>
                  </a:cubicBezTo>
                  <a:cubicBezTo>
                    <a:pt x="441" y="1356"/>
                    <a:pt x="440" y="1359"/>
                    <a:pt x="438" y="1359"/>
                  </a:cubicBezTo>
                  <a:cubicBezTo>
                    <a:pt x="426" y="1362"/>
                    <a:pt x="425" y="1358"/>
                    <a:pt x="421" y="1362"/>
                  </a:cubicBezTo>
                  <a:cubicBezTo>
                    <a:pt x="371" y="1366"/>
                    <a:pt x="364" y="1369"/>
                    <a:pt x="357" y="1369"/>
                  </a:cubicBezTo>
                  <a:cubicBezTo>
                    <a:pt x="338" y="1375"/>
                    <a:pt x="337" y="1371"/>
                    <a:pt x="335" y="1372"/>
                  </a:cubicBezTo>
                  <a:cubicBezTo>
                    <a:pt x="307" y="1376"/>
                    <a:pt x="306" y="1372"/>
                    <a:pt x="303" y="1376"/>
                  </a:cubicBezTo>
                  <a:cubicBezTo>
                    <a:pt x="270" y="1383"/>
                    <a:pt x="263" y="1389"/>
                    <a:pt x="258" y="1388"/>
                  </a:cubicBezTo>
                  <a:cubicBezTo>
                    <a:pt x="202" y="1433"/>
                    <a:pt x="200" y="1437"/>
                    <a:pt x="196" y="1441"/>
                  </a:cubicBezTo>
                  <a:cubicBezTo>
                    <a:pt x="185" y="1441"/>
                    <a:pt x="190" y="1433"/>
                    <a:pt x="197" y="1425"/>
                  </a:cubicBezTo>
                  <a:cubicBezTo>
                    <a:pt x="279" y="1366"/>
                    <a:pt x="282" y="1364"/>
                    <a:pt x="284" y="1362"/>
                  </a:cubicBezTo>
                  <a:cubicBezTo>
                    <a:pt x="315" y="1356"/>
                    <a:pt x="324" y="1356"/>
                    <a:pt x="334" y="1353"/>
                  </a:cubicBezTo>
                  <a:cubicBezTo>
                    <a:pt x="381" y="1350"/>
                    <a:pt x="385" y="1350"/>
                    <a:pt x="390" y="1350"/>
                  </a:cubicBezTo>
                  <a:cubicBezTo>
                    <a:pt x="436" y="1341"/>
                    <a:pt x="441" y="1339"/>
                    <a:pt x="446" y="1339"/>
                  </a:cubicBezTo>
                  <a:cubicBezTo>
                    <a:pt x="489" y="1324"/>
                    <a:pt x="486" y="1320"/>
                    <a:pt x="481" y="1326"/>
                  </a:cubicBezTo>
                  <a:cubicBezTo>
                    <a:pt x="445" y="1330"/>
                    <a:pt x="442" y="1333"/>
                    <a:pt x="438" y="1335"/>
                  </a:cubicBezTo>
                  <a:cubicBezTo>
                    <a:pt x="414" y="1334"/>
                    <a:pt x="409" y="1345"/>
                    <a:pt x="406" y="1338"/>
                  </a:cubicBezTo>
                  <a:cubicBezTo>
                    <a:pt x="436" y="1330"/>
                    <a:pt x="444" y="1327"/>
                    <a:pt x="451" y="1328"/>
                  </a:cubicBezTo>
                  <a:cubicBezTo>
                    <a:pt x="502" y="1292"/>
                    <a:pt x="500" y="1297"/>
                    <a:pt x="495" y="1301"/>
                  </a:cubicBezTo>
                  <a:cubicBezTo>
                    <a:pt x="463" y="1311"/>
                    <a:pt x="458" y="1319"/>
                    <a:pt x="455" y="1320"/>
                  </a:cubicBezTo>
                  <a:cubicBezTo>
                    <a:pt x="410" y="1329"/>
                    <a:pt x="405" y="1329"/>
                    <a:pt x="400" y="1333"/>
                  </a:cubicBezTo>
                  <a:cubicBezTo>
                    <a:pt x="380" y="1333"/>
                    <a:pt x="378" y="1331"/>
                    <a:pt x="376" y="1333"/>
                  </a:cubicBezTo>
                  <a:cubicBezTo>
                    <a:pt x="356" y="1334"/>
                    <a:pt x="353" y="1333"/>
                    <a:pt x="355" y="1331"/>
                  </a:cubicBezTo>
                  <a:cubicBezTo>
                    <a:pt x="400" y="1320"/>
                    <a:pt x="402" y="1322"/>
                    <a:pt x="405" y="1319"/>
                  </a:cubicBezTo>
                  <a:cubicBezTo>
                    <a:pt x="429" y="1309"/>
                    <a:pt x="438" y="1305"/>
                    <a:pt x="450" y="1297"/>
                  </a:cubicBezTo>
                  <a:cubicBezTo>
                    <a:pt x="498" y="1254"/>
                    <a:pt x="508" y="1256"/>
                    <a:pt x="503" y="1248"/>
                  </a:cubicBezTo>
                  <a:cubicBezTo>
                    <a:pt x="391" y="1316"/>
                    <a:pt x="387" y="1317"/>
                    <a:pt x="384" y="1317"/>
                  </a:cubicBezTo>
                  <a:cubicBezTo>
                    <a:pt x="365" y="1320"/>
                    <a:pt x="363" y="1321"/>
                    <a:pt x="360" y="1322"/>
                  </a:cubicBezTo>
                  <a:cubicBezTo>
                    <a:pt x="345" y="1324"/>
                    <a:pt x="344" y="1319"/>
                    <a:pt x="342" y="1323"/>
                  </a:cubicBezTo>
                  <a:cubicBezTo>
                    <a:pt x="303" y="1328"/>
                    <a:pt x="296" y="1326"/>
                    <a:pt x="290" y="1326"/>
                  </a:cubicBezTo>
                  <a:cubicBezTo>
                    <a:pt x="244" y="1332"/>
                    <a:pt x="240" y="1335"/>
                    <a:pt x="237" y="1335"/>
                  </a:cubicBezTo>
                  <a:cubicBezTo>
                    <a:pt x="200" y="1351"/>
                    <a:pt x="199" y="1362"/>
                    <a:pt x="193" y="1356"/>
                  </a:cubicBezTo>
                  <a:cubicBezTo>
                    <a:pt x="222" y="1332"/>
                    <a:pt x="227" y="1334"/>
                    <a:pt x="232" y="1328"/>
                  </a:cubicBezTo>
                  <a:cubicBezTo>
                    <a:pt x="257" y="1323"/>
                    <a:pt x="260" y="1322"/>
                    <a:pt x="262" y="1322"/>
                  </a:cubicBezTo>
                  <a:cubicBezTo>
                    <a:pt x="340" y="1309"/>
                    <a:pt x="350" y="1304"/>
                    <a:pt x="360" y="1305"/>
                  </a:cubicBezTo>
                  <a:cubicBezTo>
                    <a:pt x="414" y="1282"/>
                    <a:pt x="428" y="1278"/>
                    <a:pt x="443" y="1270"/>
                  </a:cubicBezTo>
                  <a:cubicBezTo>
                    <a:pt x="485" y="1238"/>
                    <a:pt x="488" y="1241"/>
                    <a:pt x="493" y="1236"/>
                  </a:cubicBezTo>
                  <a:cubicBezTo>
                    <a:pt x="503" y="1226"/>
                    <a:pt x="507" y="1224"/>
                    <a:pt x="512" y="1220"/>
                  </a:cubicBezTo>
                  <a:cubicBezTo>
                    <a:pt x="513" y="1206"/>
                    <a:pt x="509" y="1214"/>
                    <a:pt x="502" y="1222"/>
                  </a:cubicBezTo>
                  <a:cubicBezTo>
                    <a:pt x="460" y="1250"/>
                    <a:pt x="445" y="1261"/>
                    <a:pt x="435" y="1266"/>
                  </a:cubicBezTo>
                  <a:cubicBezTo>
                    <a:pt x="399" y="1282"/>
                    <a:pt x="395" y="1285"/>
                    <a:pt x="392" y="1284"/>
                  </a:cubicBezTo>
                  <a:cubicBezTo>
                    <a:pt x="323" y="1300"/>
                    <a:pt x="316" y="1303"/>
                    <a:pt x="308" y="1308"/>
                  </a:cubicBezTo>
                  <a:cubicBezTo>
                    <a:pt x="286" y="1307"/>
                    <a:pt x="284" y="1307"/>
                    <a:pt x="281" y="1308"/>
                  </a:cubicBezTo>
                  <a:cubicBezTo>
                    <a:pt x="265" y="1315"/>
                    <a:pt x="263" y="1313"/>
                    <a:pt x="260" y="1316"/>
                  </a:cubicBezTo>
                  <a:cubicBezTo>
                    <a:pt x="276" y="1302"/>
                    <a:pt x="278" y="1307"/>
                    <a:pt x="282" y="1305"/>
                  </a:cubicBezTo>
                  <a:cubicBezTo>
                    <a:pt x="318" y="1297"/>
                    <a:pt x="324" y="1295"/>
                    <a:pt x="330" y="1297"/>
                  </a:cubicBezTo>
                  <a:cubicBezTo>
                    <a:pt x="385" y="1284"/>
                    <a:pt x="390" y="1272"/>
                    <a:pt x="392" y="1277"/>
                  </a:cubicBezTo>
                  <a:cubicBezTo>
                    <a:pt x="458" y="1239"/>
                    <a:pt x="469" y="1229"/>
                    <a:pt x="477" y="1218"/>
                  </a:cubicBezTo>
                  <a:cubicBezTo>
                    <a:pt x="489" y="1197"/>
                    <a:pt x="479" y="1209"/>
                    <a:pt x="469" y="1221"/>
                  </a:cubicBezTo>
                  <a:cubicBezTo>
                    <a:pt x="433" y="1250"/>
                    <a:pt x="428" y="1253"/>
                    <a:pt x="424" y="1257"/>
                  </a:cubicBezTo>
                  <a:cubicBezTo>
                    <a:pt x="379" y="1272"/>
                    <a:pt x="373" y="1275"/>
                    <a:pt x="368" y="1275"/>
                  </a:cubicBezTo>
                  <a:cubicBezTo>
                    <a:pt x="317" y="1286"/>
                    <a:pt x="313" y="1290"/>
                    <a:pt x="308" y="1294"/>
                  </a:cubicBezTo>
                  <a:cubicBezTo>
                    <a:pt x="276" y="1296"/>
                    <a:pt x="268" y="1298"/>
                    <a:pt x="259" y="1301"/>
                  </a:cubicBezTo>
                  <a:cubicBezTo>
                    <a:pt x="226" y="1315"/>
                    <a:pt x="218" y="1314"/>
                    <a:pt x="210" y="1318"/>
                  </a:cubicBezTo>
                  <a:cubicBezTo>
                    <a:pt x="188" y="1324"/>
                    <a:pt x="198" y="1326"/>
                    <a:pt x="196" y="1323"/>
                  </a:cubicBezTo>
                  <a:cubicBezTo>
                    <a:pt x="245" y="1292"/>
                    <a:pt x="250" y="1296"/>
                    <a:pt x="257" y="1291"/>
                  </a:cubicBezTo>
                  <a:cubicBezTo>
                    <a:pt x="286" y="1281"/>
                    <a:pt x="297" y="1283"/>
                    <a:pt x="309" y="1278"/>
                  </a:cubicBezTo>
                  <a:cubicBezTo>
                    <a:pt x="360" y="1270"/>
                    <a:pt x="377" y="1254"/>
                    <a:pt x="392" y="1257"/>
                  </a:cubicBezTo>
                  <a:cubicBezTo>
                    <a:pt x="464" y="1216"/>
                    <a:pt x="478" y="1201"/>
                    <a:pt x="492" y="1188"/>
                  </a:cubicBezTo>
                  <a:cubicBezTo>
                    <a:pt x="510" y="1153"/>
                    <a:pt x="511" y="1156"/>
                    <a:pt x="505" y="1158"/>
                  </a:cubicBezTo>
                  <a:cubicBezTo>
                    <a:pt x="490" y="1176"/>
                    <a:pt x="487" y="1180"/>
                    <a:pt x="487" y="1184"/>
                  </a:cubicBezTo>
                  <a:cubicBezTo>
                    <a:pt x="443" y="1223"/>
                    <a:pt x="444" y="1226"/>
                    <a:pt x="442" y="1224"/>
                  </a:cubicBezTo>
                  <a:cubicBezTo>
                    <a:pt x="413" y="1237"/>
                    <a:pt x="407" y="1243"/>
                    <a:pt x="403" y="1242"/>
                  </a:cubicBezTo>
                  <a:cubicBezTo>
                    <a:pt x="325" y="1267"/>
                    <a:pt x="322" y="1265"/>
                    <a:pt x="318" y="1267"/>
                  </a:cubicBezTo>
                  <a:cubicBezTo>
                    <a:pt x="273" y="1273"/>
                    <a:pt x="263" y="1283"/>
                    <a:pt x="256" y="1279"/>
                  </a:cubicBezTo>
                  <a:cubicBezTo>
                    <a:pt x="295" y="1265"/>
                    <a:pt x="305" y="1261"/>
                    <a:pt x="314" y="1262"/>
                  </a:cubicBezTo>
                  <a:cubicBezTo>
                    <a:pt x="363" y="1241"/>
                    <a:pt x="375" y="1239"/>
                    <a:pt x="387" y="1234"/>
                  </a:cubicBezTo>
                  <a:cubicBezTo>
                    <a:pt x="479" y="1164"/>
                    <a:pt x="483" y="1161"/>
                    <a:pt x="485" y="1158"/>
                  </a:cubicBezTo>
                  <a:cubicBezTo>
                    <a:pt x="512" y="1124"/>
                    <a:pt x="513" y="1117"/>
                    <a:pt x="520" y="1111"/>
                  </a:cubicBezTo>
                  <a:cubicBezTo>
                    <a:pt x="509" y="1116"/>
                    <a:pt x="505" y="1120"/>
                    <a:pt x="502" y="1124"/>
                  </a:cubicBezTo>
                  <a:cubicBezTo>
                    <a:pt x="478" y="1160"/>
                    <a:pt x="470" y="1160"/>
                    <a:pt x="471" y="1166"/>
                  </a:cubicBezTo>
                  <a:cubicBezTo>
                    <a:pt x="431" y="1191"/>
                    <a:pt x="426" y="1200"/>
                    <a:pt x="421" y="1202"/>
                  </a:cubicBezTo>
                  <a:cubicBezTo>
                    <a:pt x="378" y="1227"/>
                    <a:pt x="371" y="1230"/>
                    <a:pt x="363" y="1234"/>
                  </a:cubicBezTo>
                  <a:cubicBezTo>
                    <a:pt x="322" y="1251"/>
                    <a:pt x="307" y="1250"/>
                    <a:pt x="290" y="1259"/>
                  </a:cubicBezTo>
                  <a:cubicBezTo>
                    <a:pt x="246" y="1271"/>
                    <a:pt x="237" y="1279"/>
                    <a:pt x="231" y="1275"/>
                  </a:cubicBezTo>
                  <a:cubicBezTo>
                    <a:pt x="290" y="1254"/>
                    <a:pt x="296" y="1241"/>
                    <a:pt x="298" y="1246"/>
                  </a:cubicBezTo>
                  <a:cubicBezTo>
                    <a:pt x="362" y="1221"/>
                    <a:pt x="377" y="1211"/>
                    <a:pt x="391" y="1204"/>
                  </a:cubicBezTo>
                  <a:cubicBezTo>
                    <a:pt x="515" y="1103"/>
                    <a:pt x="512" y="1098"/>
                    <a:pt x="518" y="1095"/>
                  </a:cubicBezTo>
                  <a:cubicBezTo>
                    <a:pt x="532" y="1075"/>
                    <a:pt x="536" y="1073"/>
                    <a:pt x="535" y="1071"/>
                  </a:cubicBezTo>
                  <a:cubicBezTo>
                    <a:pt x="539" y="1064"/>
                    <a:pt x="536" y="1067"/>
                    <a:pt x="532" y="1070"/>
                  </a:cubicBezTo>
                  <a:cubicBezTo>
                    <a:pt x="497" y="1109"/>
                    <a:pt x="495" y="1119"/>
                    <a:pt x="485" y="1121"/>
                  </a:cubicBezTo>
                  <a:cubicBezTo>
                    <a:pt x="453" y="1152"/>
                    <a:pt x="442" y="1160"/>
                    <a:pt x="431" y="1168"/>
                  </a:cubicBezTo>
                  <a:cubicBezTo>
                    <a:pt x="397" y="1193"/>
                    <a:pt x="389" y="1191"/>
                    <a:pt x="388" y="1197"/>
                  </a:cubicBezTo>
                  <a:cubicBezTo>
                    <a:pt x="367" y="1206"/>
                    <a:pt x="360" y="1215"/>
                    <a:pt x="356" y="1210"/>
                  </a:cubicBezTo>
                  <a:cubicBezTo>
                    <a:pt x="315" y="1230"/>
                    <a:pt x="305" y="1233"/>
                    <a:pt x="294" y="1240"/>
                  </a:cubicBezTo>
                  <a:cubicBezTo>
                    <a:pt x="262" y="1252"/>
                    <a:pt x="260" y="1251"/>
                    <a:pt x="257" y="1254"/>
                  </a:cubicBezTo>
                  <a:cubicBezTo>
                    <a:pt x="237" y="1263"/>
                    <a:pt x="233" y="1265"/>
                    <a:pt x="229" y="1267"/>
                  </a:cubicBezTo>
                  <a:cubicBezTo>
                    <a:pt x="218" y="1271"/>
                    <a:pt x="214" y="1278"/>
                    <a:pt x="211" y="1275"/>
                  </a:cubicBezTo>
                  <a:cubicBezTo>
                    <a:pt x="241" y="1245"/>
                    <a:pt x="262" y="1234"/>
                    <a:pt x="291" y="1222"/>
                  </a:cubicBezTo>
                  <a:cubicBezTo>
                    <a:pt x="352" y="1187"/>
                    <a:pt x="356" y="1194"/>
                    <a:pt x="360" y="1189"/>
                  </a:cubicBezTo>
                  <a:cubicBezTo>
                    <a:pt x="397" y="1173"/>
                    <a:pt x="401" y="1169"/>
                    <a:pt x="405" y="1169"/>
                  </a:cubicBezTo>
                  <a:cubicBezTo>
                    <a:pt x="461" y="1128"/>
                    <a:pt x="482" y="1115"/>
                    <a:pt x="495" y="1100"/>
                  </a:cubicBezTo>
                  <a:cubicBezTo>
                    <a:pt x="532" y="1063"/>
                    <a:pt x="536" y="1059"/>
                    <a:pt x="536" y="1055"/>
                  </a:cubicBezTo>
                  <a:cubicBezTo>
                    <a:pt x="492" y="1093"/>
                    <a:pt x="491" y="1097"/>
                    <a:pt x="486" y="1101"/>
                  </a:cubicBezTo>
                  <a:cubicBezTo>
                    <a:pt x="470" y="1111"/>
                    <a:pt x="468" y="1118"/>
                    <a:pt x="461" y="1121"/>
                  </a:cubicBezTo>
                  <a:cubicBezTo>
                    <a:pt x="441" y="1135"/>
                    <a:pt x="439" y="1138"/>
                    <a:pt x="438" y="1141"/>
                  </a:cubicBezTo>
                  <a:cubicBezTo>
                    <a:pt x="395" y="1165"/>
                    <a:pt x="389" y="1166"/>
                    <a:pt x="384" y="1167"/>
                  </a:cubicBezTo>
                  <a:cubicBezTo>
                    <a:pt x="366" y="1175"/>
                    <a:pt x="360" y="1181"/>
                    <a:pt x="354" y="1181"/>
                  </a:cubicBezTo>
                  <a:cubicBezTo>
                    <a:pt x="336" y="1190"/>
                    <a:pt x="330" y="1193"/>
                    <a:pt x="324" y="1196"/>
                  </a:cubicBezTo>
                  <a:cubicBezTo>
                    <a:pt x="289" y="1212"/>
                    <a:pt x="274" y="1219"/>
                    <a:pt x="259" y="1226"/>
                  </a:cubicBezTo>
                  <a:cubicBezTo>
                    <a:pt x="235" y="1240"/>
                    <a:pt x="227" y="1244"/>
                    <a:pt x="224" y="1249"/>
                  </a:cubicBezTo>
                  <a:cubicBezTo>
                    <a:pt x="202" y="1270"/>
                    <a:pt x="193" y="1272"/>
                    <a:pt x="192" y="1269"/>
                  </a:cubicBezTo>
                  <a:cubicBezTo>
                    <a:pt x="215" y="1249"/>
                    <a:pt x="212" y="1245"/>
                    <a:pt x="217" y="1243"/>
                  </a:cubicBezTo>
                  <a:cubicBezTo>
                    <a:pt x="243" y="1226"/>
                    <a:pt x="244" y="1223"/>
                    <a:pt x="250" y="1220"/>
                  </a:cubicBezTo>
                  <a:cubicBezTo>
                    <a:pt x="326" y="1181"/>
                    <a:pt x="340" y="1175"/>
                    <a:pt x="358" y="1169"/>
                  </a:cubicBezTo>
                  <a:cubicBezTo>
                    <a:pt x="494" y="1080"/>
                    <a:pt x="512" y="1077"/>
                    <a:pt x="512" y="1063"/>
                  </a:cubicBezTo>
                  <a:cubicBezTo>
                    <a:pt x="460" y="1106"/>
                    <a:pt x="454" y="1105"/>
                    <a:pt x="447" y="1112"/>
                  </a:cubicBezTo>
                  <a:cubicBezTo>
                    <a:pt x="401" y="1139"/>
                    <a:pt x="397" y="1141"/>
                    <a:pt x="392" y="1144"/>
                  </a:cubicBezTo>
                  <a:cubicBezTo>
                    <a:pt x="299" y="1182"/>
                    <a:pt x="278" y="1194"/>
                    <a:pt x="258" y="1204"/>
                  </a:cubicBezTo>
                  <a:cubicBezTo>
                    <a:pt x="222" y="1232"/>
                    <a:pt x="219" y="1228"/>
                    <a:pt x="215" y="1233"/>
                  </a:cubicBezTo>
                  <a:cubicBezTo>
                    <a:pt x="191" y="1248"/>
                    <a:pt x="198" y="1246"/>
                    <a:pt x="198" y="1243"/>
                  </a:cubicBezTo>
                  <a:cubicBezTo>
                    <a:pt x="210" y="1232"/>
                    <a:pt x="218" y="1227"/>
                    <a:pt x="221" y="1221"/>
                  </a:cubicBezTo>
                  <a:cubicBezTo>
                    <a:pt x="275" y="1187"/>
                    <a:pt x="293" y="1174"/>
                    <a:pt x="310" y="1167"/>
                  </a:cubicBezTo>
                  <a:cubicBezTo>
                    <a:pt x="378" y="1137"/>
                    <a:pt x="377" y="1130"/>
                    <a:pt x="382" y="1132"/>
                  </a:cubicBezTo>
                  <a:cubicBezTo>
                    <a:pt x="433" y="1103"/>
                    <a:pt x="436" y="1100"/>
                    <a:pt x="437" y="1102"/>
                  </a:cubicBezTo>
                  <a:cubicBezTo>
                    <a:pt x="461" y="1086"/>
                    <a:pt x="465" y="1087"/>
                    <a:pt x="471" y="1080"/>
                  </a:cubicBezTo>
                  <a:cubicBezTo>
                    <a:pt x="502" y="1058"/>
                    <a:pt x="506" y="1058"/>
                    <a:pt x="511" y="1054"/>
                  </a:cubicBezTo>
                  <a:cubicBezTo>
                    <a:pt x="567" y="1001"/>
                    <a:pt x="569" y="996"/>
                    <a:pt x="573" y="991"/>
                  </a:cubicBezTo>
                  <a:cubicBezTo>
                    <a:pt x="512" y="1042"/>
                    <a:pt x="492" y="1060"/>
                    <a:pt x="472" y="1069"/>
                  </a:cubicBezTo>
                  <a:cubicBezTo>
                    <a:pt x="445" y="1085"/>
                    <a:pt x="440" y="1093"/>
                    <a:pt x="436" y="1090"/>
                  </a:cubicBezTo>
                  <a:cubicBezTo>
                    <a:pt x="383" y="1123"/>
                    <a:pt x="380" y="1120"/>
                    <a:pt x="375" y="1125"/>
                  </a:cubicBezTo>
                  <a:cubicBezTo>
                    <a:pt x="301" y="1163"/>
                    <a:pt x="285" y="1166"/>
                    <a:pt x="266" y="1181"/>
                  </a:cubicBezTo>
                  <a:cubicBezTo>
                    <a:pt x="238" y="1199"/>
                    <a:pt x="226" y="1210"/>
                    <a:pt x="218" y="1211"/>
                  </a:cubicBezTo>
                  <a:cubicBezTo>
                    <a:pt x="195" y="1226"/>
                    <a:pt x="199" y="1221"/>
                    <a:pt x="198" y="1216"/>
                  </a:cubicBezTo>
                  <a:cubicBezTo>
                    <a:pt x="230" y="1183"/>
                    <a:pt x="233" y="1182"/>
                    <a:pt x="238" y="1177"/>
                  </a:cubicBezTo>
                  <a:cubicBezTo>
                    <a:pt x="319" y="1129"/>
                    <a:pt x="328" y="1123"/>
                    <a:pt x="336" y="1121"/>
                  </a:cubicBezTo>
                  <a:cubicBezTo>
                    <a:pt x="493" y="1012"/>
                    <a:pt x="511" y="1000"/>
                    <a:pt x="526" y="986"/>
                  </a:cubicBezTo>
                  <a:cubicBezTo>
                    <a:pt x="552" y="958"/>
                    <a:pt x="551" y="956"/>
                    <a:pt x="554" y="954"/>
                  </a:cubicBezTo>
                  <a:cubicBezTo>
                    <a:pt x="522" y="977"/>
                    <a:pt x="521" y="987"/>
                    <a:pt x="507" y="995"/>
                  </a:cubicBezTo>
                  <a:cubicBezTo>
                    <a:pt x="490" y="1009"/>
                    <a:pt x="487" y="1013"/>
                    <a:pt x="482" y="1018"/>
                  </a:cubicBezTo>
                  <a:cubicBezTo>
                    <a:pt x="358" y="1100"/>
                    <a:pt x="341" y="1103"/>
                    <a:pt x="333" y="1113"/>
                  </a:cubicBezTo>
                  <a:cubicBezTo>
                    <a:pt x="251" y="1161"/>
                    <a:pt x="227" y="1171"/>
                    <a:pt x="214" y="1187"/>
                  </a:cubicBezTo>
                  <a:cubicBezTo>
                    <a:pt x="211" y="1186"/>
                    <a:pt x="210" y="1183"/>
                    <a:pt x="213" y="1180"/>
                  </a:cubicBezTo>
                  <a:cubicBezTo>
                    <a:pt x="242" y="1151"/>
                    <a:pt x="248" y="1147"/>
                    <a:pt x="259" y="1137"/>
                  </a:cubicBezTo>
                  <a:cubicBezTo>
                    <a:pt x="360" y="1078"/>
                    <a:pt x="373" y="1070"/>
                    <a:pt x="393" y="1055"/>
                  </a:cubicBezTo>
                  <a:cubicBezTo>
                    <a:pt x="452" y="1010"/>
                    <a:pt x="460" y="1010"/>
                    <a:pt x="463" y="1005"/>
                  </a:cubicBezTo>
                  <a:cubicBezTo>
                    <a:pt x="524" y="947"/>
                    <a:pt x="530" y="944"/>
                    <a:pt x="532" y="940"/>
                  </a:cubicBezTo>
                  <a:cubicBezTo>
                    <a:pt x="561" y="903"/>
                    <a:pt x="566" y="896"/>
                    <a:pt x="574" y="890"/>
                  </a:cubicBezTo>
                  <a:cubicBezTo>
                    <a:pt x="547" y="899"/>
                    <a:pt x="543" y="903"/>
                    <a:pt x="537" y="907"/>
                  </a:cubicBezTo>
                  <a:cubicBezTo>
                    <a:pt x="522" y="918"/>
                    <a:pt x="523" y="921"/>
                    <a:pt x="519" y="922"/>
                  </a:cubicBezTo>
                  <a:cubicBezTo>
                    <a:pt x="491" y="945"/>
                    <a:pt x="485" y="954"/>
                    <a:pt x="474" y="962"/>
                  </a:cubicBezTo>
                  <a:cubicBezTo>
                    <a:pt x="396" y="1023"/>
                    <a:pt x="387" y="1030"/>
                    <a:pt x="378" y="1037"/>
                  </a:cubicBezTo>
                  <a:cubicBezTo>
                    <a:pt x="323" y="1067"/>
                    <a:pt x="317" y="1067"/>
                    <a:pt x="311" y="1070"/>
                  </a:cubicBezTo>
                  <a:cubicBezTo>
                    <a:pt x="262" y="1102"/>
                    <a:pt x="259" y="1103"/>
                    <a:pt x="256" y="1103"/>
                  </a:cubicBezTo>
                  <a:cubicBezTo>
                    <a:pt x="244" y="1115"/>
                    <a:pt x="236" y="1116"/>
                    <a:pt x="239" y="1120"/>
                  </a:cubicBezTo>
                  <a:cubicBezTo>
                    <a:pt x="222" y="1136"/>
                    <a:pt x="217" y="1144"/>
                    <a:pt x="214" y="1140"/>
                  </a:cubicBezTo>
                  <a:cubicBezTo>
                    <a:pt x="260" y="1090"/>
                    <a:pt x="271" y="1086"/>
                    <a:pt x="296" y="1066"/>
                  </a:cubicBezTo>
                  <a:cubicBezTo>
                    <a:pt x="418" y="989"/>
                    <a:pt x="425" y="977"/>
                    <a:pt x="430" y="979"/>
                  </a:cubicBezTo>
                  <a:cubicBezTo>
                    <a:pt x="451" y="961"/>
                    <a:pt x="456" y="956"/>
                    <a:pt x="465" y="947"/>
                  </a:cubicBezTo>
                  <a:cubicBezTo>
                    <a:pt x="540" y="892"/>
                    <a:pt x="549" y="886"/>
                    <a:pt x="560" y="878"/>
                  </a:cubicBezTo>
                  <a:cubicBezTo>
                    <a:pt x="587" y="870"/>
                    <a:pt x="592" y="858"/>
                    <a:pt x="594" y="863"/>
                  </a:cubicBezTo>
                  <a:cubicBezTo>
                    <a:pt x="625" y="848"/>
                    <a:pt x="636" y="854"/>
                    <a:pt x="633" y="845"/>
                  </a:cubicBezTo>
                  <a:cubicBezTo>
                    <a:pt x="574" y="858"/>
                    <a:pt x="566" y="857"/>
                    <a:pt x="557" y="863"/>
                  </a:cubicBezTo>
                  <a:cubicBezTo>
                    <a:pt x="523" y="876"/>
                    <a:pt x="515" y="880"/>
                    <a:pt x="508" y="884"/>
                  </a:cubicBezTo>
                  <a:cubicBezTo>
                    <a:pt x="420" y="945"/>
                    <a:pt x="411" y="951"/>
                    <a:pt x="402" y="958"/>
                  </a:cubicBezTo>
                  <a:cubicBezTo>
                    <a:pt x="299" y="1027"/>
                    <a:pt x="297" y="1029"/>
                    <a:pt x="295" y="1030"/>
                  </a:cubicBezTo>
                  <a:cubicBezTo>
                    <a:pt x="255" y="1062"/>
                    <a:pt x="252" y="1067"/>
                    <a:pt x="244" y="1072"/>
                  </a:cubicBezTo>
                  <a:cubicBezTo>
                    <a:pt x="230" y="1081"/>
                    <a:pt x="230" y="1077"/>
                    <a:pt x="232" y="1073"/>
                  </a:cubicBezTo>
                  <a:cubicBezTo>
                    <a:pt x="251" y="1057"/>
                    <a:pt x="253" y="1055"/>
                    <a:pt x="257" y="1053"/>
                  </a:cubicBezTo>
                  <a:cubicBezTo>
                    <a:pt x="293" y="1015"/>
                    <a:pt x="296" y="1017"/>
                    <a:pt x="300" y="1014"/>
                  </a:cubicBezTo>
                  <a:cubicBezTo>
                    <a:pt x="333" y="985"/>
                    <a:pt x="335" y="986"/>
                    <a:pt x="336" y="986"/>
                  </a:cubicBezTo>
                  <a:cubicBezTo>
                    <a:pt x="380" y="950"/>
                    <a:pt x="404" y="938"/>
                    <a:pt x="433" y="916"/>
                  </a:cubicBezTo>
                  <a:cubicBezTo>
                    <a:pt x="492" y="885"/>
                    <a:pt x="501" y="881"/>
                    <a:pt x="511" y="874"/>
                  </a:cubicBezTo>
                  <a:cubicBezTo>
                    <a:pt x="540" y="857"/>
                    <a:pt x="552" y="855"/>
                    <a:pt x="561" y="848"/>
                  </a:cubicBezTo>
                  <a:cubicBezTo>
                    <a:pt x="574" y="833"/>
                    <a:pt x="569" y="837"/>
                    <a:pt x="565" y="840"/>
                  </a:cubicBezTo>
                  <a:cubicBezTo>
                    <a:pt x="512" y="866"/>
                    <a:pt x="509" y="864"/>
                    <a:pt x="505" y="869"/>
                  </a:cubicBezTo>
                  <a:cubicBezTo>
                    <a:pt x="416" y="917"/>
                    <a:pt x="406" y="926"/>
                    <a:pt x="373" y="944"/>
                  </a:cubicBezTo>
                  <a:cubicBezTo>
                    <a:pt x="332" y="978"/>
                    <a:pt x="317" y="986"/>
                    <a:pt x="306" y="995"/>
                  </a:cubicBezTo>
                  <a:cubicBezTo>
                    <a:pt x="253" y="1040"/>
                    <a:pt x="256" y="1048"/>
                    <a:pt x="251" y="1045"/>
                  </a:cubicBezTo>
                  <a:cubicBezTo>
                    <a:pt x="235" y="1052"/>
                    <a:pt x="237" y="1048"/>
                    <a:pt x="241" y="1044"/>
                  </a:cubicBezTo>
                  <a:cubicBezTo>
                    <a:pt x="310" y="977"/>
                    <a:pt x="362" y="934"/>
                    <a:pt x="419" y="899"/>
                  </a:cubicBezTo>
                  <a:cubicBezTo>
                    <a:pt x="482" y="869"/>
                    <a:pt x="481" y="865"/>
                    <a:pt x="487" y="864"/>
                  </a:cubicBezTo>
                  <a:cubicBezTo>
                    <a:pt x="513" y="858"/>
                    <a:pt x="519" y="848"/>
                    <a:pt x="522" y="852"/>
                  </a:cubicBezTo>
                  <a:cubicBezTo>
                    <a:pt x="583" y="826"/>
                    <a:pt x="598" y="821"/>
                    <a:pt x="613" y="815"/>
                  </a:cubicBezTo>
                  <a:cubicBezTo>
                    <a:pt x="578" y="820"/>
                    <a:pt x="572" y="828"/>
                    <a:pt x="567" y="826"/>
                  </a:cubicBezTo>
                  <a:cubicBezTo>
                    <a:pt x="541" y="835"/>
                    <a:pt x="538" y="835"/>
                    <a:pt x="536" y="837"/>
                  </a:cubicBezTo>
                  <a:cubicBezTo>
                    <a:pt x="509" y="843"/>
                    <a:pt x="505" y="850"/>
                    <a:pt x="502" y="851"/>
                  </a:cubicBezTo>
                  <a:cubicBezTo>
                    <a:pt x="480" y="859"/>
                    <a:pt x="474" y="860"/>
                    <a:pt x="468" y="866"/>
                  </a:cubicBezTo>
                  <a:cubicBezTo>
                    <a:pt x="423" y="890"/>
                    <a:pt x="421" y="886"/>
                    <a:pt x="417" y="890"/>
                  </a:cubicBezTo>
                  <a:cubicBezTo>
                    <a:pt x="390" y="907"/>
                    <a:pt x="385" y="911"/>
                    <a:pt x="380" y="914"/>
                  </a:cubicBezTo>
                  <a:cubicBezTo>
                    <a:pt x="361" y="927"/>
                    <a:pt x="350" y="937"/>
                    <a:pt x="335" y="947"/>
                  </a:cubicBezTo>
                  <a:cubicBezTo>
                    <a:pt x="277" y="996"/>
                    <a:pt x="275" y="1001"/>
                    <a:pt x="266" y="1004"/>
                  </a:cubicBezTo>
                  <a:cubicBezTo>
                    <a:pt x="252" y="1019"/>
                    <a:pt x="249" y="1014"/>
                    <a:pt x="250" y="1013"/>
                  </a:cubicBezTo>
                  <a:cubicBezTo>
                    <a:pt x="261" y="1003"/>
                    <a:pt x="262" y="1003"/>
                    <a:pt x="262" y="1002"/>
                  </a:cubicBezTo>
                  <a:cubicBezTo>
                    <a:pt x="283" y="983"/>
                    <a:pt x="288" y="972"/>
                    <a:pt x="297" y="962"/>
                  </a:cubicBezTo>
                  <a:cubicBezTo>
                    <a:pt x="358" y="911"/>
                    <a:pt x="362" y="915"/>
                    <a:pt x="367" y="909"/>
                  </a:cubicBezTo>
                  <a:cubicBezTo>
                    <a:pt x="396" y="889"/>
                    <a:pt x="399" y="896"/>
                    <a:pt x="403" y="891"/>
                  </a:cubicBezTo>
                  <a:cubicBezTo>
                    <a:pt x="418" y="884"/>
                    <a:pt x="423" y="872"/>
                    <a:pt x="425" y="877"/>
                  </a:cubicBezTo>
                  <a:cubicBezTo>
                    <a:pt x="466" y="855"/>
                    <a:pt x="478" y="855"/>
                    <a:pt x="492" y="844"/>
                  </a:cubicBezTo>
                  <a:cubicBezTo>
                    <a:pt x="573" y="801"/>
                    <a:pt x="571" y="802"/>
                    <a:pt x="578" y="796"/>
                  </a:cubicBezTo>
                  <a:cubicBezTo>
                    <a:pt x="604" y="774"/>
                    <a:pt x="612" y="772"/>
                    <a:pt x="609" y="769"/>
                  </a:cubicBezTo>
                  <a:cubicBezTo>
                    <a:pt x="526" y="821"/>
                    <a:pt x="519" y="826"/>
                    <a:pt x="513" y="829"/>
                  </a:cubicBezTo>
                  <a:cubicBezTo>
                    <a:pt x="463" y="847"/>
                    <a:pt x="455" y="856"/>
                    <a:pt x="450" y="854"/>
                  </a:cubicBezTo>
                  <a:cubicBezTo>
                    <a:pt x="390" y="884"/>
                    <a:pt x="378" y="893"/>
                    <a:pt x="368" y="897"/>
                  </a:cubicBezTo>
                  <a:cubicBezTo>
                    <a:pt x="338" y="920"/>
                    <a:pt x="335" y="923"/>
                    <a:pt x="332" y="925"/>
                  </a:cubicBezTo>
                  <a:cubicBezTo>
                    <a:pt x="316" y="936"/>
                    <a:pt x="308" y="942"/>
                    <a:pt x="301" y="947"/>
                  </a:cubicBezTo>
                  <a:cubicBezTo>
                    <a:pt x="265" y="982"/>
                    <a:pt x="261" y="986"/>
                    <a:pt x="258" y="990"/>
                  </a:cubicBezTo>
                  <a:cubicBezTo>
                    <a:pt x="267" y="967"/>
                    <a:pt x="265" y="971"/>
                    <a:pt x="270" y="972"/>
                  </a:cubicBezTo>
                  <a:cubicBezTo>
                    <a:pt x="317" y="926"/>
                    <a:pt x="316" y="922"/>
                    <a:pt x="337" y="912"/>
                  </a:cubicBezTo>
                  <a:cubicBezTo>
                    <a:pt x="446" y="842"/>
                    <a:pt x="455" y="842"/>
                    <a:pt x="463" y="838"/>
                  </a:cubicBezTo>
                  <a:cubicBezTo>
                    <a:pt x="475" y="832"/>
                    <a:pt x="476" y="831"/>
                    <a:pt x="477" y="830"/>
                  </a:cubicBezTo>
                  <a:cubicBezTo>
                    <a:pt x="595" y="755"/>
                    <a:pt x="608" y="750"/>
                    <a:pt x="608" y="743"/>
                  </a:cubicBezTo>
                  <a:cubicBezTo>
                    <a:pt x="591" y="754"/>
                    <a:pt x="593" y="752"/>
                    <a:pt x="587" y="758"/>
                  </a:cubicBezTo>
                  <a:cubicBezTo>
                    <a:pt x="552" y="781"/>
                    <a:pt x="553" y="785"/>
                    <a:pt x="549" y="783"/>
                  </a:cubicBezTo>
                  <a:cubicBezTo>
                    <a:pt x="516" y="799"/>
                    <a:pt x="510" y="807"/>
                    <a:pt x="506" y="809"/>
                  </a:cubicBezTo>
                  <a:cubicBezTo>
                    <a:pt x="432" y="848"/>
                    <a:pt x="425" y="843"/>
                    <a:pt x="423" y="847"/>
                  </a:cubicBezTo>
                  <a:cubicBezTo>
                    <a:pt x="403" y="861"/>
                    <a:pt x="400" y="858"/>
                    <a:pt x="396" y="861"/>
                  </a:cubicBezTo>
                  <a:cubicBezTo>
                    <a:pt x="290" y="934"/>
                    <a:pt x="289" y="937"/>
                    <a:pt x="284" y="940"/>
                  </a:cubicBezTo>
                  <a:cubicBezTo>
                    <a:pt x="283" y="932"/>
                    <a:pt x="287" y="928"/>
                    <a:pt x="289" y="924"/>
                  </a:cubicBezTo>
                  <a:cubicBezTo>
                    <a:pt x="318" y="903"/>
                    <a:pt x="325" y="895"/>
                    <a:pt x="335" y="888"/>
                  </a:cubicBezTo>
                  <a:cubicBezTo>
                    <a:pt x="381" y="857"/>
                    <a:pt x="388" y="853"/>
                    <a:pt x="394" y="848"/>
                  </a:cubicBezTo>
                  <a:cubicBezTo>
                    <a:pt x="445" y="830"/>
                    <a:pt x="450" y="818"/>
                    <a:pt x="452" y="823"/>
                  </a:cubicBezTo>
                  <a:cubicBezTo>
                    <a:pt x="472" y="813"/>
                    <a:pt x="472" y="811"/>
                    <a:pt x="474" y="812"/>
                  </a:cubicBezTo>
                  <a:cubicBezTo>
                    <a:pt x="492" y="804"/>
                    <a:pt x="496" y="802"/>
                    <a:pt x="499" y="799"/>
                  </a:cubicBezTo>
                  <a:cubicBezTo>
                    <a:pt x="522" y="787"/>
                    <a:pt x="529" y="784"/>
                    <a:pt x="536" y="782"/>
                  </a:cubicBezTo>
                  <a:cubicBezTo>
                    <a:pt x="594" y="740"/>
                    <a:pt x="604" y="733"/>
                    <a:pt x="613" y="727"/>
                  </a:cubicBezTo>
                  <a:cubicBezTo>
                    <a:pt x="629" y="708"/>
                    <a:pt x="626" y="710"/>
                    <a:pt x="623" y="712"/>
                  </a:cubicBezTo>
                  <a:cubicBezTo>
                    <a:pt x="614" y="719"/>
                    <a:pt x="612" y="720"/>
                    <a:pt x="611" y="720"/>
                  </a:cubicBezTo>
                  <a:cubicBezTo>
                    <a:pt x="602" y="727"/>
                    <a:pt x="602" y="731"/>
                    <a:pt x="598" y="733"/>
                  </a:cubicBezTo>
                  <a:cubicBezTo>
                    <a:pt x="578" y="747"/>
                    <a:pt x="571" y="752"/>
                    <a:pt x="564" y="757"/>
                  </a:cubicBezTo>
                  <a:cubicBezTo>
                    <a:pt x="528" y="774"/>
                    <a:pt x="524" y="782"/>
                    <a:pt x="521" y="779"/>
                  </a:cubicBezTo>
                  <a:cubicBezTo>
                    <a:pt x="466" y="806"/>
                    <a:pt x="462" y="809"/>
                    <a:pt x="459" y="809"/>
                  </a:cubicBezTo>
                  <a:cubicBezTo>
                    <a:pt x="423" y="827"/>
                    <a:pt x="420" y="825"/>
                    <a:pt x="416" y="827"/>
                  </a:cubicBezTo>
                  <a:cubicBezTo>
                    <a:pt x="347" y="870"/>
                    <a:pt x="336" y="878"/>
                    <a:pt x="325" y="885"/>
                  </a:cubicBezTo>
                  <a:cubicBezTo>
                    <a:pt x="302" y="902"/>
                    <a:pt x="299" y="905"/>
                    <a:pt x="297" y="904"/>
                  </a:cubicBezTo>
                  <a:cubicBezTo>
                    <a:pt x="342" y="859"/>
                    <a:pt x="352" y="856"/>
                    <a:pt x="352" y="851"/>
                  </a:cubicBezTo>
                  <a:cubicBezTo>
                    <a:pt x="384" y="833"/>
                    <a:pt x="390" y="829"/>
                    <a:pt x="403" y="820"/>
                  </a:cubicBezTo>
                  <a:cubicBezTo>
                    <a:pt x="434" y="799"/>
                    <a:pt x="448" y="797"/>
                    <a:pt x="456" y="791"/>
                  </a:cubicBezTo>
                  <a:cubicBezTo>
                    <a:pt x="491" y="772"/>
                    <a:pt x="498" y="776"/>
                    <a:pt x="509" y="765"/>
                  </a:cubicBezTo>
                  <a:cubicBezTo>
                    <a:pt x="550" y="750"/>
                    <a:pt x="561" y="743"/>
                    <a:pt x="571" y="740"/>
                  </a:cubicBezTo>
                  <a:cubicBezTo>
                    <a:pt x="650" y="685"/>
                    <a:pt x="651" y="680"/>
                    <a:pt x="658" y="677"/>
                  </a:cubicBezTo>
                  <a:cubicBezTo>
                    <a:pt x="663" y="670"/>
                    <a:pt x="651" y="676"/>
                    <a:pt x="643" y="686"/>
                  </a:cubicBezTo>
                  <a:cubicBezTo>
                    <a:pt x="557" y="738"/>
                    <a:pt x="549" y="738"/>
                    <a:pt x="541" y="745"/>
                  </a:cubicBezTo>
                  <a:cubicBezTo>
                    <a:pt x="457" y="783"/>
                    <a:pt x="447" y="787"/>
                    <a:pt x="438" y="789"/>
                  </a:cubicBezTo>
                  <a:cubicBezTo>
                    <a:pt x="417" y="807"/>
                    <a:pt x="409" y="804"/>
                    <a:pt x="401" y="811"/>
                  </a:cubicBezTo>
                  <a:cubicBezTo>
                    <a:pt x="339" y="851"/>
                    <a:pt x="338" y="856"/>
                    <a:pt x="329" y="860"/>
                  </a:cubicBezTo>
                  <a:cubicBezTo>
                    <a:pt x="311" y="871"/>
                    <a:pt x="311" y="863"/>
                    <a:pt x="308" y="866"/>
                  </a:cubicBezTo>
                  <a:cubicBezTo>
                    <a:pt x="324" y="849"/>
                    <a:pt x="327" y="851"/>
                    <a:pt x="327" y="847"/>
                  </a:cubicBezTo>
                  <a:cubicBezTo>
                    <a:pt x="429" y="785"/>
                    <a:pt x="430" y="783"/>
                    <a:pt x="438" y="779"/>
                  </a:cubicBezTo>
                  <a:cubicBezTo>
                    <a:pt x="489" y="753"/>
                    <a:pt x="491" y="753"/>
                    <a:pt x="494" y="751"/>
                  </a:cubicBezTo>
                  <a:cubicBezTo>
                    <a:pt x="546" y="730"/>
                    <a:pt x="551" y="722"/>
                    <a:pt x="554" y="725"/>
                  </a:cubicBezTo>
                  <a:cubicBezTo>
                    <a:pt x="553" y="723"/>
                    <a:pt x="551" y="717"/>
                    <a:pt x="547" y="723"/>
                  </a:cubicBezTo>
                  <a:cubicBezTo>
                    <a:pt x="515" y="736"/>
                    <a:pt x="513" y="732"/>
                    <a:pt x="509" y="735"/>
                  </a:cubicBezTo>
                  <a:cubicBezTo>
                    <a:pt x="487" y="740"/>
                    <a:pt x="482" y="748"/>
                    <a:pt x="479" y="745"/>
                  </a:cubicBezTo>
                  <a:cubicBezTo>
                    <a:pt x="397" y="793"/>
                    <a:pt x="390" y="796"/>
                    <a:pt x="382" y="800"/>
                  </a:cubicBezTo>
                  <a:cubicBezTo>
                    <a:pt x="344" y="825"/>
                    <a:pt x="339" y="829"/>
                    <a:pt x="334" y="833"/>
                  </a:cubicBezTo>
                  <a:cubicBezTo>
                    <a:pt x="346" y="804"/>
                    <a:pt x="361" y="789"/>
                    <a:pt x="375" y="781"/>
                  </a:cubicBezTo>
                  <a:cubicBezTo>
                    <a:pt x="397" y="767"/>
                    <a:pt x="400" y="765"/>
                    <a:pt x="404" y="763"/>
                  </a:cubicBezTo>
                  <a:cubicBezTo>
                    <a:pt x="478" y="727"/>
                    <a:pt x="484" y="727"/>
                    <a:pt x="492" y="721"/>
                  </a:cubicBezTo>
                  <a:cubicBezTo>
                    <a:pt x="514" y="719"/>
                    <a:pt x="521" y="711"/>
                    <a:pt x="527" y="713"/>
                  </a:cubicBezTo>
                  <a:cubicBezTo>
                    <a:pt x="573" y="696"/>
                    <a:pt x="580" y="692"/>
                    <a:pt x="587" y="689"/>
                  </a:cubicBezTo>
                  <a:cubicBezTo>
                    <a:pt x="627" y="664"/>
                    <a:pt x="637" y="667"/>
                    <a:pt x="634" y="660"/>
                  </a:cubicBezTo>
                  <a:cubicBezTo>
                    <a:pt x="534" y="701"/>
                    <a:pt x="528" y="701"/>
                    <a:pt x="521" y="705"/>
                  </a:cubicBezTo>
                  <a:cubicBezTo>
                    <a:pt x="490" y="707"/>
                    <a:pt x="495" y="713"/>
                    <a:pt x="501" y="707"/>
                  </a:cubicBezTo>
                  <a:cubicBezTo>
                    <a:pt x="543" y="697"/>
                    <a:pt x="550" y="686"/>
                    <a:pt x="556" y="687"/>
                  </a:cubicBezTo>
                  <a:cubicBezTo>
                    <a:pt x="578" y="682"/>
                    <a:pt x="584" y="677"/>
                    <a:pt x="590" y="677"/>
                  </a:cubicBezTo>
                  <a:cubicBezTo>
                    <a:pt x="643" y="648"/>
                    <a:pt x="657" y="643"/>
                    <a:pt x="673" y="629"/>
                  </a:cubicBezTo>
                  <a:cubicBezTo>
                    <a:pt x="647" y="645"/>
                    <a:pt x="643" y="645"/>
                    <a:pt x="641" y="645"/>
                  </a:cubicBezTo>
                  <a:cubicBezTo>
                    <a:pt x="611" y="659"/>
                    <a:pt x="604" y="666"/>
                    <a:pt x="597" y="667"/>
                  </a:cubicBezTo>
                  <a:cubicBezTo>
                    <a:pt x="556" y="675"/>
                    <a:pt x="551" y="687"/>
                    <a:pt x="549" y="682"/>
                  </a:cubicBezTo>
                  <a:cubicBezTo>
                    <a:pt x="516" y="695"/>
                    <a:pt x="514" y="691"/>
                    <a:pt x="510" y="696"/>
                  </a:cubicBezTo>
                  <a:cubicBezTo>
                    <a:pt x="487" y="704"/>
                    <a:pt x="483" y="706"/>
                    <a:pt x="480" y="705"/>
                  </a:cubicBezTo>
                  <a:cubicBezTo>
                    <a:pt x="454" y="716"/>
                    <a:pt x="446" y="720"/>
                    <a:pt x="441" y="723"/>
                  </a:cubicBezTo>
                  <a:cubicBezTo>
                    <a:pt x="430" y="731"/>
                    <a:pt x="427" y="727"/>
                    <a:pt x="423" y="731"/>
                  </a:cubicBezTo>
                  <a:cubicBezTo>
                    <a:pt x="386" y="755"/>
                    <a:pt x="382" y="753"/>
                    <a:pt x="377" y="757"/>
                  </a:cubicBezTo>
                  <a:cubicBezTo>
                    <a:pt x="347" y="769"/>
                    <a:pt x="358" y="764"/>
                    <a:pt x="366" y="758"/>
                  </a:cubicBezTo>
                  <a:cubicBezTo>
                    <a:pt x="409" y="728"/>
                    <a:pt x="417" y="725"/>
                    <a:pt x="425" y="718"/>
                  </a:cubicBezTo>
                  <a:cubicBezTo>
                    <a:pt x="571" y="656"/>
                    <a:pt x="601" y="640"/>
                    <a:pt x="630" y="626"/>
                  </a:cubicBezTo>
                  <a:cubicBezTo>
                    <a:pt x="661" y="605"/>
                    <a:pt x="663" y="601"/>
                    <a:pt x="664" y="599"/>
                  </a:cubicBezTo>
                  <a:cubicBezTo>
                    <a:pt x="642" y="607"/>
                    <a:pt x="637" y="615"/>
                    <a:pt x="632" y="617"/>
                  </a:cubicBezTo>
                  <a:cubicBezTo>
                    <a:pt x="575" y="644"/>
                    <a:pt x="557" y="653"/>
                    <a:pt x="540" y="659"/>
                  </a:cubicBezTo>
                  <a:cubicBezTo>
                    <a:pt x="479" y="687"/>
                    <a:pt x="471" y="684"/>
                    <a:pt x="462" y="691"/>
                  </a:cubicBezTo>
                  <a:cubicBezTo>
                    <a:pt x="418" y="713"/>
                    <a:pt x="415" y="715"/>
                    <a:pt x="412" y="717"/>
                  </a:cubicBezTo>
                  <a:cubicBezTo>
                    <a:pt x="381" y="734"/>
                    <a:pt x="377" y="737"/>
                    <a:pt x="373" y="740"/>
                  </a:cubicBezTo>
                  <a:cubicBezTo>
                    <a:pt x="385" y="720"/>
                    <a:pt x="404" y="707"/>
                    <a:pt x="421" y="696"/>
                  </a:cubicBezTo>
                  <a:cubicBezTo>
                    <a:pt x="473" y="672"/>
                    <a:pt x="478" y="677"/>
                    <a:pt x="484" y="670"/>
                  </a:cubicBezTo>
                  <a:cubicBezTo>
                    <a:pt x="519" y="657"/>
                    <a:pt x="524" y="659"/>
                    <a:pt x="529" y="654"/>
                  </a:cubicBezTo>
                  <a:cubicBezTo>
                    <a:pt x="603" y="622"/>
                    <a:pt x="611" y="619"/>
                    <a:pt x="619" y="615"/>
                  </a:cubicBezTo>
                  <a:cubicBezTo>
                    <a:pt x="667" y="570"/>
                    <a:pt x="677" y="568"/>
                    <a:pt x="675" y="564"/>
                  </a:cubicBezTo>
                  <a:cubicBezTo>
                    <a:pt x="719" y="542"/>
                    <a:pt x="725" y="539"/>
                    <a:pt x="730" y="537"/>
                  </a:cubicBezTo>
                  <a:cubicBezTo>
                    <a:pt x="742" y="527"/>
                    <a:pt x="737" y="530"/>
                    <a:pt x="732" y="533"/>
                  </a:cubicBezTo>
                  <a:cubicBezTo>
                    <a:pt x="706" y="538"/>
                    <a:pt x="703" y="542"/>
                    <a:pt x="700" y="544"/>
                  </a:cubicBezTo>
                  <a:cubicBezTo>
                    <a:pt x="637" y="575"/>
                    <a:pt x="629" y="578"/>
                    <a:pt x="622" y="585"/>
                  </a:cubicBezTo>
                  <a:cubicBezTo>
                    <a:pt x="557" y="616"/>
                    <a:pt x="550" y="611"/>
                    <a:pt x="543" y="615"/>
                  </a:cubicBezTo>
                  <a:cubicBezTo>
                    <a:pt x="514" y="623"/>
                    <a:pt x="507" y="625"/>
                    <a:pt x="499" y="630"/>
                  </a:cubicBezTo>
                  <a:cubicBezTo>
                    <a:pt x="469" y="641"/>
                    <a:pt x="463" y="637"/>
                    <a:pt x="455" y="644"/>
                  </a:cubicBezTo>
                  <a:cubicBezTo>
                    <a:pt x="432" y="653"/>
                    <a:pt x="426" y="659"/>
                    <a:pt x="422" y="658"/>
                  </a:cubicBezTo>
                  <a:cubicBezTo>
                    <a:pt x="410" y="660"/>
                    <a:pt x="410" y="653"/>
                    <a:pt x="416" y="648"/>
                  </a:cubicBezTo>
                  <a:cubicBezTo>
                    <a:pt x="439" y="640"/>
                    <a:pt x="445" y="628"/>
                    <a:pt x="447" y="633"/>
                  </a:cubicBezTo>
                  <a:cubicBezTo>
                    <a:pt x="502" y="611"/>
                    <a:pt x="513" y="606"/>
                    <a:pt x="523" y="605"/>
                  </a:cubicBezTo>
                  <a:cubicBezTo>
                    <a:pt x="597" y="583"/>
                    <a:pt x="606" y="581"/>
                    <a:pt x="615" y="576"/>
                  </a:cubicBezTo>
                  <a:cubicBezTo>
                    <a:pt x="655" y="561"/>
                    <a:pt x="660" y="548"/>
                    <a:pt x="663" y="553"/>
                  </a:cubicBezTo>
                  <a:cubicBezTo>
                    <a:pt x="715" y="530"/>
                    <a:pt x="721" y="528"/>
                    <a:pt x="727" y="527"/>
                  </a:cubicBezTo>
                  <a:cubicBezTo>
                    <a:pt x="736" y="512"/>
                    <a:pt x="727" y="524"/>
                    <a:pt x="720" y="520"/>
                  </a:cubicBezTo>
                  <a:cubicBezTo>
                    <a:pt x="677" y="533"/>
                    <a:pt x="673" y="536"/>
                    <a:pt x="668" y="537"/>
                  </a:cubicBezTo>
                  <a:cubicBezTo>
                    <a:pt x="603" y="571"/>
                    <a:pt x="600" y="575"/>
                    <a:pt x="598" y="573"/>
                  </a:cubicBezTo>
                  <a:cubicBezTo>
                    <a:pt x="555" y="592"/>
                    <a:pt x="552" y="588"/>
                    <a:pt x="549" y="589"/>
                  </a:cubicBezTo>
                  <a:cubicBezTo>
                    <a:pt x="507" y="600"/>
                    <a:pt x="504" y="601"/>
                    <a:pt x="501" y="601"/>
                  </a:cubicBezTo>
                  <a:cubicBezTo>
                    <a:pt x="462" y="618"/>
                    <a:pt x="456" y="620"/>
                    <a:pt x="449" y="622"/>
                  </a:cubicBezTo>
                  <a:cubicBezTo>
                    <a:pt x="427" y="627"/>
                    <a:pt x="429" y="624"/>
                    <a:pt x="432" y="622"/>
                  </a:cubicBezTo>
                  <a:cubicBezTo>
                    <a:pt x="464" y="601"/>
                    <a:pt x="476" y="596"/>
                    <a:pt x="488" y="594"/>
                  </a:cubicBezTo>
                  <a:cubicBezTo>
                    <a:pt x="519" y="583"/>
                    <a:pt x="522" y="582"/>
                    <a:pt x="525" y="584"/>
                  </a:cubicBezTo>
                  <a:cubicBezTo>
                    <a:pt x="550" y="574"/>
                    <a:pt x="557" y="572"/>
                    <a:pt x="563" y="571"/>
                  </a:cubicBezTo>
                  <a:cubicBezTo>
                    <a:pt x="588" y="560"/>
                    <a:pt x="594" y="562"/>
                    <a:pt x="600" y="559"/>
                  </a:cubicBezTo>
                  <a:cubicBezTo>
                    <a:pt x="645" y="537"/>
                    <a:pt x="651" y="541"/>
                    <a:pt x="657" y="535"/>
                  </a:cubicBezTo>
                  <a:cubicBezTo>
                    <a:pt x="670" y="528"/>
                    <a:pt x="672" y="530"/>
                    <a:pt x="671" y="528"/>
                  </a:cubicBezTo>
                  <a:cubicBezTo>
                    <a:pt x="707" y="510"/>
                    <a:pt x="711" y="502"/>
                    <a:pt x="714" y="502"/>
                  </a:cubicBezTo>
                  <a:cubicBezTo>
                    <a:pt x="729" y="486"/>
                    <a:pt x="743" y="485"/>
                    <a:pt x="736" y="481"/>
                  </a:cubicBezTo>
                  <a:cubicBezTo>
                    <a:pt x="686" y="515"/>
                    <a:pt x="684" y="515"/>
                    <a:pt x="682" y="515"/>
                  </a:cubicBezTo>
                  <a:cubicBezTo>
                    <a:pt x="660" y="525"/>
                    <a:pt x="654" y="529"/>
                    <a:pt x="648" y="532"/>
                  </a:cubicBezTo>
                  <a:cubicBezTo>
                    <a:pt x="622" y="542"/>
                    <a:pt x="616" y="542"/>
                    <a:pt x="609" y="548"/>
                  </a:cubicBezTo>
                  <a:cubicBezTo>
                    <a:pt x="569" y="562"/>
                    <a:pt x="566" y="558"/>
                    <a:pt x="563" y="561"/>
                  </a:cubicBezTo>
                  <a:cubicBezTo>
                    <a:pt x="541" y="567"/>
                    <a:pt x="537" y="572"/>
                    <a:pt x="535" y="570"/>
                  </a:cubicBezTo>
                  <a:cubicBezTo>
                    <a:pt x="474" y="591"/>
                    <a:pt x="469" y="587"/>
                    <a:pt x="462" y="592"/>
                  </a:cubicBezTo>
                  <a:cubicBezTo>
                    <a:pt x="459" y="582"/>
                    <a:pt x="465" y="573"/>
                    <a:pt x="468" y="576"/>
                  </a:cubicBezTo>
                  <a:cubicBezTo>
                    <a:pt x="497" y="562"/>
                    <a:pt x="501" y="567"/>
                    <a:pt x="506" y="564"/>
                  </a:cubicBezTo>
                  <a:cubicBezTo>
                    <a:pt x="546" y="554"/>
                    <a:pt x="550" y="555"/>
                    <a:pt x="555" y="550"/>
                  </a:cubicBezTo>
                  <a:cubicBezTo>
                    <a:pt x="621" y="530"/>
                    <a:pt x="639" y="521"/>
                    <a:pt x="656" y="514"/>
                  </a:cubicBezTo>
                  <a:cubicBezTo>
                    <a:pt x="724" y="468"/>
                    <a:pt x="727" y="472"/>
                    <a:pt x="731" y="467"/>
                  </a:cubicBezTo>
                  <a:cubicBezTo>
                    <a:pt x="698" y="479"/>
                    <a:pt x="675" y="497"/>
                    <a:pt x="653" y="506"/>
                  </a:cubicBezTo>
                  <a:cubicBezTo>
                    <a:pt x="569" y="540"/>
                    <a:pt x="564" y="539"/>
                    <a:pt x="557" y="543"/>
                  </a:cubicBezTo>
                  <a:cubicBezTo>
                    <a:pt x="520" y="547"/>
                    <a:pt x="515" y="554"/>
                    <a:pt x="512" y="552"/>
                  </a:cubicBezTo>
                  <a:cubicBezTo>
                    <a:pt x="473" y="562"/>
                    <a:pt x="469" y="568"/>
                    <a:pt x="466" y="563"/>
                  </a:cubicBezTo>
                  <a:cubicBezTo>
                    <a:pt x="498" y="545"/>
                    <a:pt x="497" y="541"/>
                    <a:pt x="502" y="539"/>
                  </a:cubicBezTo>
                  <a:cubicBezTo>
                    <a:pt x="563" y="520"/>
                    <a:pt x="573" y="516"/>
                    <a:pt x="581" y="519"/>
                  </a:cubicBezTo>
                  <a:cubicBezTo>
                    <a:pt x="612" y="506"/>
                    <a:pt x="616" y="505"/>
                    <a:pt x="619" y="506"/>
                  </a:cubicBezTo>
                  <a:cubicBezTo>
                    <a:pt x="736" y="443"/>
                    <a:pt x="752" y="427"/>
                    <a:pt x="767" y="422"/>
                  </a:cubicBezTo>
                  <a:cubicBezTo>
                    <a:pt x="792" y="398"/>
                    <a:pt x="801" y="398"/>
                    <a:pt x="799" y="388"/>
                  </a:cubicBezTo>
                  <a:cubicBezTo>
                    <a:pt x="779" y="406"/>
                    <a:pt x="773" y="410"/>
                    <a:pt x="771" y="411"/>
                  </a:cubicBezTo>
                  <a:cubicBezTo>
                    <a:pt x="764" y="417"/>
                    <a:pt x="760" y="419"/>
                    <a:pt x="757" y="421"/>
                  </a:cubicBezTo>
                  <a:cubicBezTo>
                    <a:pt x="698" y="461"/>
                    <a:pt x="694" y="459"/>
                    <a:pt x="692" y="461"/>
                  </a:cubicBezTo>
                  <a:cubicBezTo>
                    <a:pt x="645" y="481"/>
                    <a:pt x="642" y="485"/>
                    <a:pt x="639" y="487"/>
                  </a:cubicBezTo>
                  <a:cubicBezTo>
                    <a:pt x="607" y="499"/>
                    <a:pt x="602" y="499"/>
                    <a:pt x="597" y="503"/>
                  </a:cubicBezTo>
                  <a:cubicBezTo>
                    <a:pt x="580" y="505"/>
                    <a:pt x="572" y="510"/>
                    <a:pt x="564" y="509"/>
                  </a:cubicBezTo>
                  <a:cubicBezTo>
                    <a:pt x="507" y="529"/>
                    <a:pt x="504" y="529"/>
                    <a:pt x="501" y="530"/>
                  </a:cubicBezTo>
                  <a:cubicBezTo>
                    <a:pt x="511" y="516"/>
                    <a:pt x="516" y="516"/>
                    <a:pt x="521" y="510"/>
                  </a:cubicBezTo>
                  <a:cubicBezTo>
                    <a:pt x="560" y="498"/>
                    <a:pt x="569" y="498"/>
                    <a:pt x="580" y="493"/>
                  </a:cubicBezTo>
                  <a:cubicBezTo>
                    <a:pt x="646" y="472"/>
                    <a:pt x="652" y="467"/>
                    <a:pt x="658" y="468"/>
                  </a:cubicBezTo>
                  <a:cubicBezTo>
                    <a:pt x="762" y="408"/>
                    <a:pt x="771" y="401"/>
                    <a:pt x="780" y="395"/>
                  </a:cubicBezTo>
                  <a:cubicBezTo>
                    <a:pt x="794" y="385"/>
                    <a:pt x="799" y="381"/>
                    <a:pt x="804" y="378"/>
                  </a:cubicBezTo>
                  <a:cubicBezTo>
                    <a:pt x="816" y="362"/>
                    <a:pt x="807" y="368"/>
                    <a:pt x="799" y="374"/>
                  </a:cubicBezTo>
                  <a:cubicBezTo>
                    <a:pt x="785" y="381"/>
                    <a:pt x="780" y="387"/>
                    <a:pt x="777" y="392"/>
                  </a:cubicBezTo>
                  <a:cubicBezTo>
                    <a:pt x="741" y="412"/>
                    <a:pt x="732" y="416"/>
                    <a:pt x="722" y="424"/>
                  </a:cubicBezTo>
                  <a:cubicBezTo>
                    <a:pt x="700" y="442"/>
                    <a:pt x="692" y="439"/>
                    <a:pt x="689" y="441"/>
                  </a:cubicBezTo>
                  <a:cubicBezTo>
                    <a:pt x="614" y="471"/>
                    <a:pt x="613" y="473"/>
                    <a:pt x="607" y="476"/>
                  </a:cubicBezTo>
                  <a:cubicBezTo>
                    <a:pt x="566" y="485"/>
                    <a:pt x="556" y="494"/>
                    <a:pt x="549" y="491"/>
                  </a:cubicBezTo>
                  <a:cubicBezTo>
                    <a:pt x="513" y="502"/>
                    <a:pt x="508" y="511"/>
                    <a:pt x="505" y="508"/>
                  </a:cubicBezTo>
                  <a:cubicBezTo>
                    <a:pt x="524" y="490"/>
                    <a:pt x="526" y="487"/>
                    <a:pt x="528" y="486"/>
                  </a:cubicBezTo>
                  <a:cubicBezTo>
                    <a:pt x="546" y="478"/>
                    <a:pt x="555" y="473"/>
                    <a:pt x="564" y="467"/>
                  </a:cubicBezTo>
                  <a:cubicBezTo>
                    <a:pt x="585" y="466"/>
                    <a:pt x="592" y="460"/>
                    <a:pt x="598" y="460"/>
                  </a:cubicBezTo>
                  <a:cubicBezTo>
                    <a:pt x="650" y="440"/>
                    <a:pt x="653" y="444"/>
                    <a:pt x="657" y="440"/>
                  </a:cubicBezTo>
                  <a:cubicBezTo>
                    <a:pt x="729" y="408"/>
                    <a:pt x="743" y="399"/>
                    <a:pt x="758" y="389"/>
                  </a:cubicBezTo>
                  <a:cubicBezTo>
                    <a:pt x="794" y="357"/>
                    <a:pt x="790" y="359"/>
                    <a:pt x="778" y="369"/>
                  </a:cubicBezTo>
                  <a:cubicBezTo>
                    <a:pt x="742" y="393"/>
                    <a:pt x="737" y="396"/>
                    <a:pt x="732" y="400"/>
                  </a:cubicBezTo>
                  <a:cubicBezTo>
                    <a:pt x="693" y="417"/>
                    <a:pt x="690" y="418"/>
                    <a:pt x="687" y="420"/>
                  </a:cubicBezTo>
                  <a:cubicBezTo>
                    <a:pt x="629" y="438"/>
                    <a:pt x="622" y="447"/>
                    <a:pt x="618" y="443"/>
                  </a:cubicBezTo>
                  <a:cubicBezTo>
                    <a:pt x="587" y="455"/>
                    <a:pt x="575" y="459"/>
                    <a:pt x="564" y="457"/>
                  </a:cubicBezTo>
                  <a:cubicBezTo>
                    <a:pt x="544" y="467"/>
                    <a:pt x="539" y="470"/>
                    <a:pt x="534" y="470"/>
                  </a:cubicBezTo>
                  <a:cubicBezTo>
                    <a:pt x="590" y="434"/>
                    <a:pt x="594" y="439"/>
                    <a:pt x="599" y="435"/>
                  </a:cubicBezTo>
                  <a:cubicBezTo>
                    <a:pt x="658" y="416"/>
                    <a:pt x="669" y="411"/>
                    <a:pt x="679" y="409"/>
                  </a:cubicBezTo>
                  <a:cubicBezTo>
                    <a:pt x="766" y="359"/>
                    <a:pt x="770" y="356"/>
                    <a:pt x="786" y="346"/>
                  </a:cubicBezTo>
                  <a:cubicBezTo>
                    <a:pt x="788" y="337"/>
                    <a:pt x="773" y="348"/>
                    <a:pt x="758" y="359"/>
                  </a:cubicBezTo>
                  <a:cubicBezTo>
                    <a:pt x="666" y="405"/>
                    <a:pt x="659" y="405"/>
                    <a:pt x="650" y="410"/>
                  </a:cubicBezTo>
                  <a:cubicBezTo>
                    <a:pt x="579" y="427"/>
                    <a:pt x="571" y="435"/>
                    <a:pt x="566" y="429"/>
                  </a:cubicBezTo>
                  <a:cubicBezTo>
                    <a:pt x="586" y="418"/>
                    <a:pt x="591" y="422"/>
                    <a:pt x="597" y="419"/>
                  </a:cubicBezTo>
                  <a:cubicBezTo>
                    <a:pt x="623" y="411"/>
                    <a:pt x="627" y="405"/>
                    <a:pt x="629" y="408"/>
                  </a:cubicBezTo>
                  <a:cubicBezTo>
                    <a:pt x="674" y="391"/>
                    <a:pt x="674" y="383"/>
                    <a:pt x="679" y="385"/>
                  </a:cubicBezTo>
                  <a:cubicBezTo>
                    <a:pt x="709" y="372"/>
                    <a:pt x="714" y="369"/>
                    <a:pt x="719" y="365"/>
                  </a:cubicBezTo>
                  <a:cubicBezTo>
                    <a:pt x="790" y="326"/>
                    <a:pt x="800" y="319"/>
                    <a:pt x="808" y="316"/>
                  </a:cubicBezTo>
                  <a:cubicBezTo>
                    <a:pt x="851" y="294"/>
                    <a:pt x="848" y="291"/>
                    <a:pt x="852" y="289"/>
                  </a:cubicBezTo>
                  <a:cubicBezTo>
                    <a:pt x="847" y="287"/>
                    <a:pt x="848" y="290"/>
                    <a:pt x="845" y="292"/>
                  </a:cubicBezTo>
                  <a:cubicBezTo>
                    <a:pt x="796" y="312"/>
                    <a:pt x="785" y="320"/>
                    <a:pt x="775" y="325"/>
                  </a:cubicBezTo>
                  <a:cubicBezTo>
                    <a:pt x="686" y="371"/>
                    <a:pt x="681" y="378"/>
                    <a:pt x="677" y="376"/>
                  </a:cubicBezTo>
                  <a:cubicBezTo>
                    <a:pt x="647" y="386"/>
                    <a:pt x="644" y="390"/>
                    <a:pt x="642" y="391"/>
                  </a:cubicBezTo>
                  <a:cubicBezTo>
                    <a:pt x="602" y="407"/>
                    <a:pt x="598" y="406"/>
                    <a:pt x="593" y="409"/>
                  </a:cubicBezTo>
                  <a:cubicBezTo>
                    <a:pt x="585" y="406"/>
                    <a:pt x="586" y="411"/>
                    <a:pt x="589" y="407"/>
                  </a:cubicBezTo>
                  <a:cubicBezTo>
                    <a:pt x="637" y="379"/>
                    <a:pt x="661" y="368"/>
                    <a:pt x="684" y="361"/>
                  </a:cubicBezTo>
                  <a:cubicBezTo>
                    <a:pt x="714" y="348"/>
                    <a:pt x="717" y="344"/>
                    <a:pt x="720" y="343"/>
                  </a:cubicBezTo>
                  <a:cubicBezTo>
                    <a:pt x="761" y="318"/>
                    <a:pt x="780" y="313"/>
                    <a:pt x="794" y="303"/>
                  </a:cubicBezTo>
                  <a:cubicBezTo>
                    <a:pt x="837" y="288"/>
                    <a:pt x="847" y="283"/>
                    <a:pt x="845" y="279"/>
                  </a:cubicBezTo>
                  <a:cubicBezTo>
                    <a:pt x="748" y="324"/>
                    <a:pt x="743" y="322"/>
                    <a:pt x="738" y="327"/>
                  </a:cubicBezTo>
                  <a:cubicBezTo>
                    <a:pt x="712" y="340"/>
                    <a:pt x="702" y="341"/>
                    <a:pt x="692" y="348"/>
                  </a:cubicBezTo>
                  <a:cubicBezTo>
                    <a:pt x="671" y="360"/>
                    <a:pt x="667" y="355"/>
                    <a:pt x="661" y="360"/>
                  </a:cubicBezTo>
                  <a:cubicBezTo>
                    <a:pt x="628" y="371"/>
                    <a:pt x="625" y="375"/>
                    <a:pt x="623" y="373"/>
                  </a:cubicBezTo>
                  <a:cubicBezTo>
                    <a:pt x="602" y="380"/>
                    <a:pt x="603" y="375"/>
                    <a:pt x="608" y="379"/>
                  </a:cubicBezTo>
                  <a:cubicBezTo>
                    <a:pt x="635" y="363"/>
                    <a:pt x="640" y="358"/>
                    <a:pt x="645" y="355"/>
                  </a:cubicBezTo>
                  <a:cubicBezTo>
                    <a:pt x="690" y="337"/>
                    <a:pt x="695" y="339"/>
                    <a:pt x="702" y="336"/>
                  </a:cubicBezTo>
                  <a:cubicBezTo>
                    <a:pt x="778" y="299"/>
                    <a:pt x="789" y="291"/>
                    <a:pt x="800" y="284"/>
                  </a:cubicBezTo>
                  <a:cubicBezTo>
                    <a:pt x="823" y="265"/>
                    <a:pt x="817" y="270"/>
                    <a:pt x="810" y="275"/>
                  </a:cubicBezTo>
                  <a:cubicBezTo>
                    <a:pt x="745" y="308"/>
                    <a:pt x="744" y="312"/>
                    <a:pt x="735" y="317"/>
                  </a:cubicBezTo>
                  <a:cubicBezTo>
                    <a:pt x="706" y="325"/>
                    <a:pt x="698" y="329"/>
                    <a:pt x="692" y="328"/>
                  </a:cubicBezTo>
                  <a:cubicBezTo>
                    <a:pt x="631" y="353"/>
                    <a:pt x="625" y="359"/>
                    <a:pt x="621" y="355"/>
                  </a:cubicBezTo>
                  <a:cubicBezTo>
                    <a:pt x="645" y="341"/>
                    <a:pt x="649" y="339"/>
                    <a:pt x="654" y="336"/>
                  </a:cubicBezTo>
                  <a:cubicBezTo>
                    <a:pt x="697" y="321"/>
                    <a:pt x="705" y="316"/>
                    <a:pt x="713" y="313"/>
                  </a:cubicBezTo>
                  <a:cubicBezTo>
                    <a:pt x="745" y="297"/>
                    <a:pt x="753" y="295"/>
                    <a:pt x="761" y="291"/>
                  </a:cubicBezTo>
                  <a:cubicBezTo>
                    <a:pt x="803" y="262"/>
                    <a:pt x="807" y="264"/>
                    <a:pt x="806" y="261"/>
                  </a:cubicBezTo>
                  <a:cubicBezTo>
                    <a:pt x="839" y="233"/>
                    <a:pt x="843" y="230"/>
                    <a:pt x="847" y="226"/>
                  </a:cubicBezTo>
                  <a:cubicBezTo>
                    <a:pt x="796" y="261"/>
                    <a:pt x="788" y="266"/>
                    <a:pt x="779" y="272"/>
                  </a:cubicBezTo>
                  <a:cubicBezTo>
                    <a:pt x="668" y="319"/>
                    <a:pt x="661" y="325"/>
                    <a:pt x="655" y="325"/>
                  </a:cubicBezTo>
                  <a:cubicBezTo>
                    <a:pt x="643" y="332"/>
                    <a:pt x="643" y="326"/>
                    <a:pt x="646" y="322"/>
                  </a:cubicBezTo>
                  <a:cubicBezTo>
                    <a:pt x="668" y="316"/>
                    <a:pt x="674" y="313"/>
                    <a:pt x="679" y="313"/>
                  </a:cubicBezTo>
                  <a:cubicBezTo>
                    <a:pt x="789" y="253"/>
                    <a:pt x="800" y="245"/>
                    <a:pt x="811" y="238"/>
                  </a:cubicBezTo>
                  <a:cubicBezTo>
                    <a:pt x="830" y="217"/>
                    <a:pt x="839" y="215"/>
                    <a:pt x="836" y="212"/>
                  </a:cubicBezTo>
                  <a:cubicBezTo>
                    <a:pt x="826" y="221"/>
                    <a:pt x="818" y="219"/>
                    <a:pt x="815" y="227"/>
                  </a:cubicBezTo>
                  <a:cubicBezTo>
                    <a:pt x="759" y="262"/>
                    <a:pt x="739" y="275"/>
                    <a:pt x="719" y="284"/>
                  </a:cubicBezTo>
                  <a:cubicBezTo>
                    <a:pt x="673" y="305"/>
                    <a:pt x="671" y="306"/>
                    <a:pt x="668" y="306"/>
                  </a:cubicBezTo>
                  <a:cubicBezTo>
                    <a:pt x="711" y="282"/>
                    <a:pt x="719" y="273"/>
                    <a:pt x="727" y="271"/>
                  </a:cubicBezTo>
                  <a:cubicBezTo>
                    <a:pt x="797" y="226"/>
                    <a:pt x="805" y="220"/>
                    <a:pt x="813" y="214"/>
                  </a:cubicBezTo>
                  <a:cubicBezTo>
                    <a:pt x="850" y="175"/>
                    <a:pt x="861" y="172"/>
                    <a:pt x="859" y="168"/>
                  </a:cubicBezTo>
                  <a:close/>
                  <a:moveTo>
                    <a:pt x="743" y="232"/>
                  </a:moveTo>
                  <a:cubicBezTo>
                    <a:pt x="748" y="239"/>
                    <a:pt x="733" y="238"/>
                    <a:pt x="728" y="246"/>
                  </a:cubicBezTo>
                  <a:cubicBezTo>
                    <a:pt x="725" y="238"/>
                    <a:pt x="737" y="240"/>
                    <a:pt x="743" y="232"/>
                  </a:cubicBezTo>
                  <a:close/>
                  <a:moveTo>
                    <a:pt x="723" y="245"/>
                  </a:moveTo>
                  <a:cubicBezTo>
                    <a:pt x="723" y="251"/>
                    <a:pt x="713" y="252"/>
                    <a:pt x="710" y="254"/>
                  </a:cubicBezTo>
                  <a:cubicBezTo>
                    <a:pt x="709" y="248"/>
                    <a:pt x="719" y="247"/>
                    <a:pt x="723" y="245"/>
                  </a:cubicBezTo>
                  <a:close/>
                  <a:moveTo>
                    <a:pt x="265" y="659"/>
                  </a:moveTo>
                  <a:cubicBezTo>
                    <a:pt x="262" y="656"/>
                    <a:pt x="263" y="654"/>
                    <a:pt x="262" y="651"/>
                  </a:cubicBezTo>
                  <a:cubicBezTo>
                    <a:pt x="260" y="649"/>
                    <a:pt x="256" y="646"/>
                    <a:pt x="259" y="644"/>
                  </a:cubicBezTo>
                  <a:cubicBezTo>
                    <a:pt x="256" y="643"/>
                    <a:pt x="254" y="641"/>
                    <a:pt x="252" y="638"/>
                  </a:cubicBezTo>
                  <a:cubicBezTo>
                    <a:pt x="252" y="636"/>
                    <a:pt x="252" y="634"/>
                    <a:pt x="250" y="635"/>
                  </a:cubicBezTo>
                  <a:cubicBezTo>
                    <a:pt x="248" y="631"/>
                    <a:pt x="248" y="627"/>
                    <a:pt x="243" y="623"/>
                  </a:cubicBezTo>
                  <a:cubicBezTo>
                    <a:pt x="245" y="617"/>
                    <a:pt x="243" y="617"/>
                    <a:pt x="239" y="613"/>
                  </a:cubicBezTo>
                  <a:cubicBezTo>
                    <a:pt x="241" y="610"/>
                    <a:pt x="236" y="605"/>
                    <a:pt x="236" y="601"/>
                  </a:cubicBezTo>
                  <a:cubicBezTo>
                    <a:pt x="231" y="592"/>
                    <a:pt x="230" y="592"/>
                    <a:pt x="223" y="581"/>
                  </a:cubicBezTo>
                  <a:cubicBezTo>
                    <a:pt x="215" y="572"/>
                    <a:pt x="216" y="564"/>
                    <a:pt x="207" y="555"/>
                  </a:cubicBezTo>
                  <a:cubicBezTo>
                    <a:pt x="203" y="545"/>
                    <a:pt x="204" y="543"/>
                    <a:pt x="195" y="532"/>
                  </a:cubicBezTo>
                  <a:cubicBezTo>
                    <a:pt x="199" y="528"/>
                    <a:pt x="191" y="523"/>
                    <a:pt x="193" y="519"/>
                  </a:cubicBezTo>
                  <a:cubicBezTo>
                    <a:pt x="188" y="514"/>
                    <a:pt x="192" y="510"/>
                    <a:pt x="188" y="505"/>
                  </a:cubicBezTo>
                  <a:cubicBezTo>
                    <a:pt x="187" y="496"/>
                    <a:pt x="184" y="487"/>
                    <a:pt x="181" y="478"/>
                  </a:cubicBezTo>
                  <a:cubicBezTo>
                    <a:pt x="189" y="478"/>
                    <a:pt x="185" y="488"/>
                    <a:pt x="189" y="492"/>
                  </a:cubicBezTo>
                  <a:cubicBezTo>
                    <a:pt x="191" y="498"/>
                    <a:pt x="194" y="504"/>
                    <a:pt x="193" y="509"/>
                  </a:cubicBezTo>
                  <a:cubicBezTo>
                    <a:pt x="200" y="517"/>
                    <a:pt x="199" y="523"/>
                    <a:pt x="207" y="531"/>
                  </a:cubicBezTo>
                  <a:cubicBezTo>
                    <a:pt x="210" y="535"/>
                    <a:pt x="208" y="538"/>
                    <a:pt x="209" y="541"/>
                  </a:cubicBezTo>
                  <a:cubicBezTo>
                    <a:pt x="213" y="542"/>
                    <a:pt x="214" y="546"/>
                    <a:pt x="213" y="549"/>
                  </a:cubicBezTo>
                  <a:cubicBezTo>
                    <a:pt x="220" y="554"/>
                    <a:pt x="218" y="557"/>
                    <a:pt x="224" y="565"/>
                  </a:cubicBezTo>
                  <a:cubicBezTo>
                    <a:pt x="227" y="574"/>
                    <a:pt x="233" y="584"/>
                    <a:pt x="237" y="593"/>
                  </a:cubicBezTo>
                  <a:cubicBezTo>
                    <a:pt x="239" y="596"/>
                    <a:pt x="241" y="598"/>
                    <a:pt x="243" y="601"/>
                  </a:cubicBezTo>
                  <a:cubicBezTo>
                    <a:pt x="243" y="603"/>
                    <a:pt x="243" y="605"/>
                    <a:pt x="245" y="604"/>
                  </a:cubicBezTo>
                  <a:cubicBezTo>
                    <a:pt x="246" y="609"/>
                    <a:pt x="245" y="613"/>
                    <a:pt x="250" y="618"/>
                  </a:cubicBezTo>
                  <a:cubicBezTo>
                    <a:pt x="253" y="627"/>
                    <a:pt x="261" y="637"/>
                    <a:pt x="263" y="646"/>
                  </a:cubicBezTo>
                  <a:cubicBezTo>
                    <a:pt x="271" y="655"/>
                    <a:pt x="270" y="664"/>
                    <a:pt x="275" y="673"/>
                  </a:cubicBezTo>
                  <a:cubicBezTo>
                    <a:pt x="268" y="673"/>
                    <a:pt x="271" y="663"/>
                    <a:pt x="265" y="659"/>
                  </a:cubicBezTo>
                  <a:close/>
                  <a:moveTo>
                    <a:pt x="279" y="685"/>
                  </a:moveTo>
                  <a:cubicBezTo>
                    <a:pt x="279" y="692"/>
                    <a:pt x="278" y="682"/>
                    <a:pt x="274" y="679"/>
                  </a:cubicBezTo>
                  <a:cubicBezTo>
                    <a:pt x="273" y="676"/>
                    <a:pt x="276" y="678"/>
                    <a:pt x="277" y="679"/>
                  </a:cubicBezTo>
                  <a:cubicBezTo>
                    <a:pt x="278" y="681"/>
                    <a:pt x="279" y="683"/>
                    <a:pt x="281" y="684"/>
                  </a:cubicBezTo>
                  <a:cubicBezTo>
                    <a:pt x="280" y="685"/>
                    <a:pt x="280" y="685"/>
                    <a:pt x="279" y="685"/>
                  </a:cubicBezTo>
                  <a:close/>
                  <a:moveTo>
                    <a:pt x="166" y="634"/>
                  </a:moveTo>
                  <a:cubicBezTo>
                    <a:pt x="162" y="637"/>
                    <a:pt x="166" y="630"/>
                    <a:pt x="161" y="628"/>
                  </a:cubicBezTo>
                  <a:cubicBezTo>
                    <a:pt x="168" y="628"/>
                    <a:pt x="168" y="638"/>
                    <a:pt x="172" y="642"/>
                  </a:cubicBezTo>
                  <a:cubicBezTo>
                    <a:pt x="168" y="645"/>
                    <a:pt x="166" y="636"/>
                    <a:pt x="166" y="634"/>
                  </a:cubicBezTo>
                  <a:close/>
                  <a:moveTo>
                    <a:pt x="192" y="691"/>
                  </a:moveTo>
                  <a:cubicBezTo>
                    <a:pt x="192" y="690"/>
                    <a:pt x="191" y="690"/>
                    <a:pt x="190" y="691"/>
                  </a:cubicBezTo>
                  <a:cubicBezTo>
                    <a:pt x="187" y="685"/>
                    <a:pt x="184" y="679"/>
                    <a:pt x="184" y="673"/>
                  </a:cubicBezTo>
                  <a:cubicBezTo>
                    <a:pt x="190" y="669"/>
                    <a:pt x="184" y="681"/>
                    <a:pt x="189" y="677"/>
                  </a:cubicBezTo>
                  <a:cubicBezTo>
                    <a:pt x="189" y="682"/>
                    <a:pt x="193" y="688"/>
                    <a:pt x="194" y="693"/>
                  </a:cubicBezTo>
                  <a:cubicBezTo>
                    <a:pt x="195" y="695"/>
                    <a:pt x="196" y="696"/>
                    <a:pt x="197" y="698"/>
                  </a:cubicBezTo>
                  <a:cubicBezTo>
                    <a:pt x="200" y="705"/>
                    <a:pt x="188" y="693"/>
                    <a:pt x="192" y="691"/>
                  </a:cubicBezTo>
                  <a:close/>
                  <a:moveTo>
                    <a:pt x="259" y="828"/>
                  </a:moveTo>
                  <a:cubicBezTo>
                    <a:pt x="258" y="824"/>
                    <a:pt x="255" y="820"/>
                    <a:pt x="256" y="817"/>
                  </a:cubicBezTo>
                  <a:cubicBezTo>
                    <a:pt x="247" y="810"/>
                    <a:pt x="247" y="797"/>
                    <a:pt x="241" y="789"/>
                  </a:cubicBezTo>
                  <a:cubicBezTo>
                    <a:pt x="233" y="777"/>
                    <a:pt x="228" y="766"/>
                    <a:pt x="224" y="755"/>
                  </a:cubicBezTo>
                  <a:cubicBezTo>
                    <a:pt x="220" y="751"/>
                    <a:pt x="217" y="746"/>
                    <a:pt x="214" y="742"/>
                  </a:cubicBezTo>
                  <a:cubicBezTo>
                    <a:pt x="212" y="737"/>
                    <a:pt x="211" y="732"/>
                    <a:pt x="208" y="727"/>
                  </a:cubicBezTo>
                  <a:cubicBezTo>
                    <a:pt x="206" y="724"/>
                    <a:pt x="208" y="722"/>
                    <a:pt x="205" y="719"/>
                  </a:cubicBezTo>
                  <a:cubicBezTo>
                    <a:pt x="202" y="720"/>
                    <a:pt x="204" y="715"/>
                    <a:pt x="201" y="717"/>
                  </a:cubicBezTo>
                  <a:cubicBezTo>
                    <a:pt x="203" y="712"/>
                    <a:pt x="194" y="705"/>
                    <a:pt x="199" y="701"/>
                  </a:cubicBezTo>
                  <a:cubicBezTo>
                    <a:pt x="207" y="710"/>
                    <a:pt x="207" y="720"/>
                    <a:pt x="217" y="725"/>
                  </a:cubicBezTo>
                  <a:cubicBezTo>
                    <a:pt x="214" y="728"/>
                    <a:pt x="222" y="733"/>
                    <a:pt x="220" y="736"/>
                  </a:cubicBezTo>
                  <a:cubicBezTo>
                    <a:pt x="220" y="739"/>
                    <a:pt x="227" y="743"/>
                    <a:pt x="224" y="745"/>
                  </a:cubicBezTo>
                  <a:cubicBezTo>
                    <a:pt x="228" y="751"/>
                    <a:pt x="231" y="757"/>
                    <a:pt x="232" y="763"/>
                  </a:cubicBezTo>
                  <a:cubicBezTo>
                    <a:pt x="242" y="777"/>
                    <a:pt x="242" y="783"/>
                    <a:pt x="252" y="798"/>
                  </a:cubicBezTo>
                  <a:cubicBezTo>
                    <a:pt x="255" y="807"/>
                    <a:pt x="256" y="808"/>
                    <a:pt x="261" y="817"/>
                  </a:cubicBezTo>
                  <a:cubicBezTo>
                    <a:pt x="258" y="822"/>
                    <a:pt x="264" y="829"/>
                    <a:pt x="265" y="836"/>
                  </a:cubicBezTo>
                  <a:cubicBezTo>
                    <a:pt x="259" y="838"/>
                    <a:pt x="262" y="830"/>
                    <a:pt x="259" y="828"/>
                  </a:cubicBezTo>
                  <a:close/>
                  <a:moveTo>
                    <a:pt x="195" y="1053"/>
                  </a:moveTo>
                  <a:cubicBezTo>
                    <a:pt x="187" y="1053"/>
                    <a:pt x="194" y="1042"/>
                    <a:pt x="195" y="1053"/>
                  </a:cubicBezTo>
                  <a:close/>
                  <a:moveTo>
                    <a:pt x="139" y="1162"/>
                  </a:moveTo>
                  <a:cubicBezTo>
                    <a:pt x="139" y="1162"/>
                    <a:pt x="135" y="1161"/>
                    <a:pt x="135" y="1160"/>
                  </a:cubicBezTo>
                  <a:cubicBezTo>
                    <a:pt x="135" y="1160"/>
                    <a:pt x="137" y="1159"/>
                    <a:pt x="137" y="1159"/>
                  </a:cubicBezTo>
                  <a:cubicBezTo>
                    <a:pt x="135" y="1156"/>
                    <a:pt x="134" y="1152"/>
                    <a:pt x="136" y="1155"/>
                  </a:cubicBezTo>
                  <a:cubicBezTo>
                    <a:pt x="138" y="1157"/>
                    <a:pt x="136" y="1158"/>
                    <a:pt x="137" y="1159"/>
                  </a:cubicBezTo>
                  <a:cubicBezTo>
                    <a:pt x="137" y="1159"/>
                    <a:pt x="146" y="1164"/>
                    <a:pt x="139" y="1162"/>
                  </a:cubicBezTo>
                  <a:close/>
                  <a:moveTo>
                    <a:pt x="157" y="1194"/>
                  </a:moveTo>
                  <a:cubicBezTo>
                    <a:pt x="156" y="1188"/>
                    <a:pt x="151" y="1181"/>
                    <a:pt x="146" y="1175"/>
                  </a:cubicBezTo>
                  <a:cubicBezTo>
                    <a:pt x="148" y="1173"/>
                    <a:pt x="150" y="1179"/>
                    <a:pt x="153" y="1177"/>
                  </a:cubicBezTo>
                  <a:cubicBezTo>
                    <a:pt x="149" y="1182"/>
                    <a:pt x="165" y="1190"/>
                    <a:pt x="157" y="1194"/>
                  </a:cubicBezTo>
                  <a:close/>
                  <a:moveTo>
                    <a:pt x="160" y="1194"/>
                  </a:moveTo>
                  <a:cubicBezTo>
                    <a:pt x="165" y="1194"/>
                    <a:pt x="164" y="1204"/>
                    <a:pt x="167" y="1208"/>
                  </a:cubicBezTo>
                  <a:cubicBezTo>
                    <a:pt x="161" y="1208"/>
                    <a:pt x="161" y="1198"/>
                    <a:pt x="160" y="1194"/>
                  </a:cubicBezTo>
                  <a:close/>
                  <a:moveTo>
                    <a:pt x="120" y="1272"/>
                  </a:moveTo>
                  <a:cubicBezTo>
                    <a:pt x="122" y="1271"/>
                    <a:pt x="129" y="1274"/>
                    <a:pt x="125" y="1275"/>
                  </a:cubicBezTo>
                  <a:cubicBezTo>
                    <a:pt x="136" y="1289"/>
                    <a:pt x="127" y="1283"/>
                    <a:pt x="120" y="1272"/>
                  </a:cubicBezTo>
                  <a:close/>
                  <a:moveTo>
                    <a:pt x="25" y="1215"/>
                  </a:moveTo>
                  <a:cubicBezTo>
                    <a:pt x="26" y="1214"/>
                    <a:pt x="27" y="1214"/>
                    <a:pt x="28" y="1213"/>
                  </a:cubicBezTo>
                  <a:cubicBezTo>
                    <a:pt x="29" y="1214"/>
                    <a:pt x="31" y="1216"/>
                    <a:pt x="32" y="1218"/>
                  </a:cubicBezTo>
                  <a:cubicBezTo>
                    <a:pt x="31" y="1218"/>
                    <a:pt x="30" y="1219"/>
                    <a:pt x="29" y="1220"/>
                  </a:cubicBezTo>
                  <a:cubicBezTo>
                    <a:pt x="27" y="1218"/>
                    <a:pt x="26" y="1217"/>
                    <a:pt x="25" y="1215"/>
                  </a:cubicBezTo>
                  <a:close/>
                  <a:moveTo>
                    <a:pt x="121" y="1375"/>
                  </a:moveTo>
                  <a:cubicBezTo>
                    <a:pt x="117" y="1370"/>
                    <a:pt x="114" y="1365"/>
                    <a:pt x="110" y="1360"/>
                  </a:cubicBezTo>
                  <a:cubicBezTo>
                    <a:pt x="113" y="1358"/>
                    <a:pt x="116" y="1360"/>
                    <a:pt x="118" y="1364"/>
                  </a:cubicBezTo>
                  <a:cubicBezTo>
                    <a:pt x="122" y="1365"/>
                    <a:pt x="127" y="1372"/>
                    <a:pt x="121" y="1375"/>
                  </a:cubicBezTo>
                  <a:close/>
                  <a:moveTo>
                    <a:pt x="156" y="1400"/>
                  </a:moveTo>
                  <a:cubicBezTo>
                    <a:pt x="154" y="1401"/>
                    <a:pt x="156" y="1399"/>
                    <a:pt x="154" y="1397"/>
                  </a:cubicBezTo>
                  <a:cubicBezTo>
                    <a:pt x="129" y="1364"/>
                    <a:pt x="125" y="1355"/>
                    <a:pt x="120" y="1353"/>
                  </a:cubicBezTo>
                  <a:cubicBezTo>
                    <a:pt x="103" y="1335"/>
                    <a:pt x="105" y="1329"/>
                    <a:pt x="98" y="1330"/>
                  </a:cubicBezTo>
                  <a:cubicBezTo>
                    <a:pt x="80" y="1305"/>
                    <a:pt x="82" y="1304"/>
                    <a:pt x="82" y="1304"/>
                  </a:cubicBezTo>
                  <a:cubicBezTo>
                    <a:pt x="72" y="1293"/>
                    <a:pt x="73" y="1290"/>
                    <a:pt x="72" y="1290"/>
                  </a:cubicBezTo>
                  <a:cubicBezTo>
                    <a:pt x="60" y="1278"/>
                    <a:pt x="63" y="1277"/>
                    <a:pt x="61" y="1275"/>
                  </a:cubicBezTo>
                  <a:cubicBezTo>
                    <a:pt x="44" y="1247"/>
                    <a:pt x="37" y="1241"/>
                    <a:pt x="37" y="1236"/>
                  </a:cubicBezTo>
                  <a:cubicBezTo>
                    <a:pt x="33" y="1223"/>
                    <a:pt x="41" y="1230"/>
                    <a:pt x="45" y="1233"/>
                  </a:cubicBezTo>
                  <a:cubicBezTo>
                    <a:pt x="83" y="1280"/>
                    <a:pt x="94" y="1291"/>
                    <a:pt x="101" y="1303"/>
                  </a:cubicBezTo>
                  <a:cubicBezTo>
                    <a:pt x="106" y="1310"/>
                    <a:pt x="104" y="1311"/>
                    <a:pt x="105" y="1312"/>
                  </a:cubicBezTo>
                  <a:cubicBezTo>
                    <a:pt x="117" y="1329"/>
                    <a:pt x="118" y="1327"/>
                    <a:pt x="119" y="1329"/>
                  </a:cubicBezTo>
                  <a:cubicBezTo>
                    <a:pt x="159" y="1413"/>
                    <a:pt x="159" y="1403"/>
                    <a:pt x="156" y="1400"/>
                  </a:cubicBezTo>
                  <a:close/>
                  <a:moveTo>
                    <a:pt x="217" y="1325"/>
                  </a:moveTo>
                  <a:cubicBezTo>
                    <a:pt x="220" y="1327"/>
                    <a:pt x="210" y="1334"/>
                    <a:pt x="210" y="1328"/>
                  </a:cubicBezTo>
                  <a:cubicBezTo>
                    <a:pt x="212" y="1325"/>
                    <a:pt x="214" y="1327"/>
                    <a:pt x="217" y="1325"/>
                  </a:cubicBezTo>
                  <a:close/>
                  <a:moveTo>
                    <a:pt x="182" y="1218"/>
                  </a:moveTo>
                  <a:cubicBezTo>
                    <a:pt x="188" y="1216"/>
                    <a:pt x="184" y="1224"/>
                    <a:pt x="189" y="1227"/>
                  </a:cubicBezTo>
                  <a:cubicBezTo>
                    <a:pt x="183" y="1229"/>
                    <a:pt x="184" y="1220"/>
                    <a:pt x="182" y="1218"/>
                  </a:cubicBezTo>
                  <a:close/>
                  <a:moveTo>
                    <a:pt x="339" y="1330"/>
                  </a:moveTo>
                  <a:cubicBezTo>
                    <a:pt x="343" y="1334"/>
                    <a:pt x="348" y="1326"/>
                    <a:pt x="351" y="1333"/>
                  </a:cubicBezTo>
                  <a:cubicBezTo>
                    <a:pt x="345" y="1334"/>
                    <a:pt x="340" y="1333"/>
                    <a:pt x="334" y="1333"/>
                  </a:cubicBezTo>
                  <a:cubicBezTo>
                    <a:pt x="333" y="1331"/>
                    <a:pt x="337" y="1333"/>
                    <a:pt x="339" y="1330"/>
                  </a:cubicBezTo>
                  <a:close/>
                  <a:moveTo>
                    <a:pt x="334" y="1341"/>
                  </a:moveTo>
                  <a:cubicBezTo>
                    <a:pt x="336" y="1340"/>
                    <a:pt x="338" y="1342"/>
                    <a:pt x="340" y="1342"/>
                  </a:cubicBezTo>
                  <a:cubicBezTo>
                    <a:pt x="342" y="1341"/>
                    <a:pt x="344" y="1342"/>
                    <a:pt x="346" y="1340"/>
                  </a:cubicBezTo>
                  <a:cubicBezTo>
                    <a:pt x="357" y="1342"/>
                    <a:pt x="367" y="1347"/>
                    <a:pt x="379" y="1338"/>
                  </a:cubicBezTo>
                  <a:cubicBezTo>
                    <a:pt x="387" y="1341"/>
                    <a:pt x="395" y="1339"/>
                    <a:pt x="403" y="1338"/>
                  </a:cubicBezTo>
                  <a:cubicBezTo>
                    <a:pt x="406" y="1343"/>
                    <a:pt x="399" y="1338"/>
                    <a:pt x="397" y="1342"/>
                  </a:cubicBezTo>
                  <a:cubicBezTo>
                    <a:pt x="395" y="1339"/>
                    <a:pt x="391" y="1345"/>
                    <a:pt x="389" y="1341"/>
                  </a:cubicBezTo>
                  <a:cubicBezTo>
                    <a:pt x="383" y="1345"/>
                    <a:pt x="378" y="1341"/>
                    <a:pt x="372" y="1345"/>
                  </a:cubicBezTo>
                  <a:cubicBezTo>
                    <a:pt x="367" y="1342"/>
                    <a:pt x="362" y="1346"/>
                    <a:pt x="357" y="1344"/>
                  </a:cubicBezTo>
                  <a:cubicBezTo>
                    <a:pt x="352" y="1342"/>
                    <a:pt x="346" y="1348"/>
                    <a:pt x="341" y="1343"/>
                  </a:cubicBezTo>
                  <a:cubicBezTo>
                    <a:pt x="335" y="1345"/>
                    <a:pt x="329" y="1350"/>
                    <a:pt x="324" y="1343"/>
                  </a:cubicBezTo>
                  <a:cubicBezTo>
                    <a:pt x="328" y="1342"/>
                    <a:pt x="330" y="1346"/>
                    <a:pt x="334" y="1341"/>
                  </a:cubicBezTo>
                  <a:close/>
                  <a:moveTo>
                    <a:pt x="321" y="1343"/>
                  </a:moveTo>
                  <a:cubicBezTo>
                    <a:pt x="321" y="1351"/>
                    <a:pt x="310" y="1347"/>
                    <a:pt x="306" y="1349"/>
                  </a:cubicBezTo>
                  <a:cubicBezTo>
                    <a:pt x="300" y="1351"/>
                    <a:pt x="295" y="1352"/>
                    <a:pt x="290" y="1353"/>
                  </a:cubicBezTo>
                  <a:cubicBezTo>
                    <a:pt x="284" y="1355"/>
                    <a:pt x="278" y="1355"/>
                    <a:pt x="272" y="1359"/>
                  </a:cubicBezTo>
                  <a:cubicBezTo>
                    <a:pt x="267" y="1360"/>
                    <a:pt x="265" y="1364"/>
                    <a:pt x="258" y="1364"/>
                  </a:cubicBezTo>
                  <a:cubicBezTo>
                    <a:pt x="249" y="1371"/>
                    <a:pt x="241" y="1374"/>
                    <a:pt x="233" y="1377"/>
                  </a:cubicBezTo>
                  <a:cubicBezTo>
                    <a:pt x="216" y="1388"/>
                    <a:pt x="203" y="1400"/>
                    <a:pt x="192" y="1412"/>
                  </a:cubicBezTo>
                  <a:cubicBezTo>
                    <a:pt x="191" y="1414"/>
                    <a:pt x="190" y="1415"/>
                    <a:pt x="191" y="1417"/>
                  </a:cubicBezTo>
                  <a:cubicBezTo>
                    <a:pt x="188" y="1420"/>
                    <a:pt x="186" y="1418"/>
                    <a:pt x="188" y="1417"/>
                  </a:cubicBezTo>
                  <a:cubicBezTo>
                    <a:pt x="190" y="1412"/>
                    <a:pt x="191" y="1406"/>
                    <a:pt x="196" y="1401"/>
                  </a:cubicBezTo>
                  <a:cubicBezTo>
                    <a:pt x="197" y="1396"/>
                    <a:pt x="204" y="1391"/>
                    <a:pt x="205" y="1385"/>
                  </a:cubicBezTo>
                  <a:cubicBezTo>
                    <a:pt x="211" y="1384"/>
                    <a:pt x="216" y="1375"/>
                    <a:pt x="225" y="1370"/>
                  </a:cubicBezTo>
                  <a:cubicBezTo>
                    <a:pt x="235" y="1364"/>
                    <a:pt x="236" y="1365"/>
                    <a:pt x="246" y="1358"/>
                  </a:cubicBezTo>
                  <a:cubicBezTo>
                    <a:pt x="248" y="1361"/>
                    <a:pt x="252" y="1355"/>
                    <a:pt x="255" y="1356"/>
                  </a:cubicBezTo>
                  <a:cubicBezTo>
                    <a:pt x="258" y="1356"/>
                    <a:pt x="261" y="1355"/>
                    <a:pt x="264" y="1352"/>
                  </a:cubicBezTo>
                  <a:cubicBezTo>
                    <a:pt x="267" y="1356"/>
                    <a:pt x="272" y="1352"/>
                    <a:pt x="275" y="1354"/>
                  </a:cubicBezTo>
                  <a:cubicBezTo>
                    <a:pt x="291" y="1345"/>
                    <a:pt x="306" y="1348"/>
                    <a:pt x="321" y="1343"/>
                  </a:cubicBezTo>
                  <a:close/>
                  <a:moveTo>
                    <a:pt x="193" y="1379"/>
                  </a:moveTo>
                  <a:cubicBezTo>
                    <a:pt x="192" y="1377"/>
                    <a:pt x="196" y="1374"/>
                    <a:pt x="198" y="1376"/>
                  </a:cubicBezTo>
                  <a:cubicBezTo>
                    <a:pt x="198" y="1371"/>
                    <a:pt x="203" y="1367"/>
                    <a:pt x="205" y="1363"/>
                  </a:cubicBezTo>
                  <a:cubicBezTo>
                    <a:pt x="211" y="1359"/>
                    <a:pt x="216" y="1355"/>
                    <a:pt x="221" y="1351"/>
                  </a:cubicBezTo>
                  <a:cubicBezTo>
                    <a:pt x="230" y="1347"/>
                    <a:pt x="237" y="1348"/>
                    <a:pt x="246" y="1341"/>
                  </a:cubicBezTo>
                  <a:cubicBezTo>
                    <a:pt x="251" y="1345"/>
                    <a:pt x="256" y="1336"/>
                    <a:pt x="262" y="1339"/>
                  </a:cubicBezTo>
                  <a:cubicBezTo>
                    <a:pt x="267" y="1334"/>
                    <a:pt x="271" y="1340"/>
                    <a:pt x="277" y="1336"/>
                  </a:cubicBezTo>
                  <a:cubicBezTo>
                    <a:pt x="286" y="1336"/>
                    <a:pt x="296" y="1336"/>
                    <a:pt x="305" y="1335"/>
                  </a:cubicBezTo>
                  <a:cubicBezTo>
                    <a:pt x="306" y="1338"/>
                    <a:pt x="303" y="1337"/>
                    <a:pt x="301" y="1338"/>
                  </a:cubicBezTo>
                  <a:cubicBezTo>
                    <a:pt x="298" y="1342"/>
                    <a:pt x="296" y="1337"/>
                    <a:pt x="293" y="1338"/>
                  </a:cubicBezTo>
                  <a:cubicBezTo>
                    <a:pt x="291" y="1341"/>
                    <a:pt x="290" y="1339"/>
                    <a:pt x="287" y="1340"/>
                  </a:cubicBezTo>
                  <a:cubicBezTo>
                    <a:pt x="284" y="1339"/>
                    <a:pt x="280" y="1341"/>
                    <a:pt x="275" y="1344"/>
                  </a:cubicBezTo>
                  <a:cubicBezTo>
                    <a:pt x="268" y="1341"/>
                    <a:pt x="260" y="1348"/>
                    <a:pt x="252" y="1346"/>
                  </a:cubicBezTo>
                  <a:cubicBezTo>
                    <a:pt x="250" y="1348"/>
                    <a:pt x="248" y="1349"/>
                    <a:pt x="246" y="1348"/>
                  </a:cubicBezTo>
                  <a:cubicBezTo>
                    <a:pt x="236" y="1354"/>
                    <a:pt x="235" y="1357"/>
                    <a:pt x="226" y="1357"/>
                  </a:cubicBezTo>
                  <a:cubicBezTo>
                    <a:pt x="224" y="1364"/>
                    <a:pt x="216" y="1364"/>
                    <a:pt x="214" y="1368"/>
                  </a:cubicBezTo>
                  <a:cubicBezTo>
                    <a:pt x="207" y="1371"/>
                    <a:pt x="208" y="1375"/>
                    <a:pt x="200" y="1376"/>
                  </a:cubicBezTo>
                  <a:cubicBezTo>
                    <a:pt x="199" y="1380"/>
                    <a:pt x="194" y="1384"/>
                    <a:pt x="191" y="1387"/>
                  </a:cubicBezTo>
                  <a:cubicBezTo>
                    <a:pt x="188" y="1384"/>
                    <a:pt x="189" y="1381"/>
                    <a:pt x="193" y="1379"/>
                  </a:cubicBezTo>
                  <a:close/>
                  <a:moveTo>
                    <a:pt x="199" y="1139"/>
                  </a:moveTo>
                  <a:cubicBezTo>
                    <a:pt x="195" y="1136"/>
                    <a:pt x="199" y="1133"/>
                    <a:pt x="194" y="1130"/>
                  </a:cubicBezTo>
                  <a:cubicBezTo>
                    <a:pt x="196" y="1124"/>
                    <a:pt x="191" y="1118"/>
                    <a:pt x="192" y="1112"/>
                  </a:cubicBezTo>
                  <a:cubicBezTo>
                    <a:pt x="172" y="1082"/>
                    <a:pt x="156" y="1052"/>
                    <a:pt x="135" y="1027"/>
                  </a:cubicBezTo>
                  <a:cubicBezTo>
                    <a:pt x="131" y="1022"/>
                    <a:pt x="125" y="1019"/>
                    <a:pt x="121" y="1011"/>
                  </a:cubicBezTo>
                  <a:cubicBezTo>
                    <a:pt x="118" y="1006"/>
                    <a:pt x="120" y="1008"/>
                    <a:pt x="116" y="1004"/>
                  </a:cubicBezTo>
                  <a:cubicBezTo>
                    <a:pt x="114" y="1002"/>
                    <a:pt x="115" y="999"/>
                    <a:pt x="113" y="997"/>
                  </a:cubicBezTo>
                  <a:cubicBezTo>
                    <a:pt x="111" y="993"/>
                    <a:pt x="107" y="991"/>
                    <a:pt x="105" y="988"/>
                  </a:cubicBezTo>
                  <a:cubicBezTo>
                    <a:pt x="105" y="989"/>
                    <a:pt x="106" y="986"/>
                    <a:pt x="105" y="985"/>
                  </a:cubicBezTo>
                  <a:cubicBezTo>
                    <a:pt x="105" y="985"/>
                    <a:pt x="99" y="984"/>
                    <a:pt x="100" y="982"/>
                  </a:cubicBezTo>
                  <a:cubicBezTo>
                    <a:pt x="102" y="976"/>
                    <a:pt x="85" y="961"/>
                    <a:pt x="80" y="952"/>
                  </a:cubicBezTo>
                  <a:cubicBezTo>
                    <a:pt x="80" y="951"/>
                    <a:pt x="78" y="949"/>
                    <a:pt x="78" y="948"/>
                  </a:cubicBezTo>
                  <a:cubicBezTo>
                    <a:pt x="79" y="945"/>
                    <a:pt x="77" y="947"/>
                    <a:pt x="75" y="943"/>
                  </a:cubicBezTo>
                  <a:cubicBezTo>
                    <a:pt x="75" y="943"/>
                    <a:pt x="76" y="942"/>
                    <a:pt x="75" y="941"/>
                  </a:cubicBezTo>
                  <a:cubicBezTo>
                    <a:pt x="70" y="932"/>
                    <a:pt x="58" y="920"/>
                    <a:pt x="53" y="907"/>
                  </a:cubicBezTo>
                  <a:cubicBezTo>
                    <a:pt x="58" y="904"/>
                    <a:pt x="61" y="910"/>
                    <a:pt x="64" y="915"/>
                  </a:cubicBezTo>
                  <a:cubicBezTo>
                    <a:pt x="65" y="919"/>
                    <a:pt x="73" y="924"/>
                    <a:pt x="70" y="927"/>
                  </a:cubicBezTo>
                  <a:cubicBezTo>
                    <a:pt x="77" y="930"/>
                    <a:pt x="83" y="943"/>
                    <a:pt x="90" y="947"/>
                  </a:cubicBezTo>
                  <a:cubicBezTo>
                    <a:pt x="93" y="952"/>
                    <a:pt x="96" y="956"/>
                    <a:pt x="99" y="960"/>
                  </a:cubicBezTo>
                  <a:cubicBezTo>
                    <a:pt x="97" y="963"/>
                    <a:pt x="100" y="962"/>
                    <a:pt x="101" y="963"/>
                  </a:cubicBezTo>
                  <a:cubicBezTo>
                    <a:pt x="101" y="966"/>
                    <a:pt x="102" y="968"/>
                    <a:pt x="104" y="967"/>
                  </a:cubicBezTo>
                  <a:cubicBezTo>
                    <a:pt x="107" y="969"/>
                    <a:pt x="109" y="979"/>
                    <a:pt x="114" y="977"/>
                  </a:cubicBezTo>
                  <a:cubicBezTo>
                    <a:pt x="113" y="980"/>
                    <a:pt x="116" y="984"/>
                    <a:pt x="119" y="985"/>
                  </a:cubicBezTo>
                  <a:cubicBezTo>
                    <a:pt x="124" y="994"/>
                    <a:pt x="128" y="995"/>
                    <a:pt x="134" y="1006"/>
                  </a:cubicBezTo>
                  <a:cubicBezTo>
                    <a:pt x="140" y="1014"/>
                    <a:pt x="146" y="1022"/>
                    <a:pt x="152" y="1030"/>
                  </a:cubicBezTo>
                  <a:cubicBezTo>
                    <a:pt x="154" y="1034"/>
                    <a:pt x="156" y="1034"/>
                    <a:pt x="158" y="1035"/>
                  </a:cubicBezTo>
                  <a:cubicBezTo>
                    <a:pt x="159" y="1040"/>
                    <a:pt x="167" y="1051"/>
                    <a:pt x="174" y="1061"/>
                  </a:cubicBezTo>
                  <a:cubicBezTo>
                    <a:pt x="180" y="1075"/>
                    <a:pt x="188" y="1090"/>
                    <a:pt x="193" y="1104"/>
                  </a:cubicBezTo>
                  <a:cubicBezTo>
                    <a:pt x="196" y="1111"/>
                    <a:pt x="198" y="1118"/>
                    <a:pt x="198" y="1125"/>
                  </a:cubicBezTo>
                  <a:cubicBezTo>
                    <a:pt x="203" y="1132"/>
                    <a:pt x="203" y="1139"/>
                    <a:pt x="203" y="1145"/>
                  </a:cubicBezTo>
                  <a:cubicBezTo>
                    <a:pt x="199" y="1148"/>
                    <a:pt x="199" y="1140"/>
                    <a:pt x="199" y="1139"/>
                  </a:cubicBezTo>
                  <a:close/>
                  <a:moveTo>
                    <a:pt x="228" y="1142"/>
                  </a:moveTo>
                  <a:cubicBezTo>
                    <a:pt x="236" y="1134"/>
                    <a:pt x="246" y="1126"/>
                    <a:pt x="252" y="1118"/>
                  </a:cubicBezTo>
                  <a:cubicBezTo>
                    <a:pt x="300" y="1093"/>
                    <a:pt x="301" y="1085"/>
                    <a:pt x="309" y="1081"/>
                  </a:cubicBezTo>
                  <a:cubicBezTo>
                    <a:pt x="462" y="985"/>
                    <a:pt x="471" y="976"/>
                    <a:pt x="485" y="967"/>
                  </a:cubicBezTo>
                  <a:cubicBezTo>
                    <a:pt x="503" y="945"/>
                    <a:pt x="507" y="947"/>
                    <a:pt x="510" y="941"/>
                  </a:cubicBezTo>
                  <a:cubicBezTo>
                    <a:pt x="557" y="905"/>
                    <a:pt x="553" y="907"/>
                    <a:pt x="551" y="909"/>
                  </a:cubicBezTo>
                  <a:cubicBezTo>
                    <a:pt x="517" y="950"/>
                    <a:pt x="499" y="964"/>
                    <a:pt x="486" y="978"/>
                  </a:cubicBezTo>
                  <a:cubicBezTo>
                    <a:pt x="437" y="1016"/>
                    <a:pt x="427" y="1019"/>
                    <a:pt x="415" y="1030"/>
                  </a:cubicBezTo>
                  <a:cubicBezTo>
                    <a:pt x="412" y="1032"/>
                    <a:pt x="412" y="1035"/>
                    <a:pt x="411" y="1035"/>
                  </a:cubicBezTo>
                  <a:cubicBezTo>
                    <a:pt x="371" y="1063"/>
                    <a:pt x="358" y="1069"/>
                    <a:pt x="346" y="1077"/>
                  </a:cubicBezTo>
                  <a:cubicBezTo>
                    <a:pt x="251" y="1133"/>
                    <a:pt x="244" y="1138"/>
                    <a:pt x="238" y="1142"/>
                  </a:cubicBezTo>
                  <a:cubicBezTo>
                    <a:pt x="217" y="1159"/>
                    <a:pt x="213" y="1164"/>
                    <a:pt x="208" y="1169"/>
                  </a:cubicBezTo>
                  <a:close/>
                  <a:moveTo>
                    <a:pt x="223" y="1067"/>
                  </a:moveTo>
                  <a:cubicBezTo>
                    <a:pt x="223" y="1065"/>
                    <a:pt x="223" y="1063"/>
                    <a:pt x="221" y="1061"/>
                  </a:cubicBezTo>
                  <a:cubicBezTo>
                    <a:pt x="226" y="1059"/>
                    <a:pt x="229" y="1064"/>
                    <a:pt x="223" y="1067"/>
                  </a:cubicBezTo>
                  <a:close/>
                  <a:moveTo>
                    <a:pt x="232" y="1100"/>
                  </a:moveTo>
                  <a:cubicBezTo>
                    <a:pt x="230" y="1094"/>
                    <a:pt x="242" y="1090"/>
                    <a:pt x="243" y="1085"/>
                  </a:cubicBezTo>
                  <a:cubicBezTo>
                    <a:pt x="362" y="999"/>
                    <a:pt x="360" y="990"/>
                    <a:pt x="366" y="989"/>
                  </a:cubicBezTo>
                  <a:cubicBezTo>
                    <a:pt x="390" y="969"/>
                    <a:pt x="398" y="972"/>
                    <a:pt x="400" y="969"/>
                  </a:cubicBezTo>
                  <a:cubicBezTo>
                    <a:pt x="434" y="942"/>
                    <a:pt x="438" y="946"/>
                    <a:pt x="443" y="940"/>
                  </a:cubicBezTo>
                  <a:cubicBezTo>
                    <a:pt x="503" y="895"/>
                    <a:pt x="520" y="886"/>
                    <a:pt x="537" y="875"/>
                  </a:cubicBezTo>
                  <a:cubicBezTo>
                    <a:pt x="594" y="856"/>
                    <a:pt x="595" y="858"/>
                    <a:pt x="592" y="860"/>
                  </a:cubicBezTo>
                  <a:cubicBezTo>
                    <a:pt x="575" y="865"/>
                    <a:pt x="573" y="867"/>
                    <a:pt x="571" y="865"/>
                  </a:cubicBezTo>
                  <a:cubicBezTo>
                    <a:pt x="463" y="940"/>
                    <a:pt x="448" y="949"/>
                    <a:pt x="432" y="965"/>
                  </a:cubicBezTo>
                  <a:cubicBezTo>
                    <a:pt x="322" y="1042"/>
                    <a:pt x="316" y="1041"/>
                    <a:pt x="309" y="1047"/>
                  </a:cubicBezTo>
                  <a:cubicBezTo>
                    <a:pt x="287" y="1062"/>
                    <a:pt x="287" y="1060"/>
                    <a:pt x="285" y="1062"/>
                  </a:cubicBezTo>
                  <a:cubicBezTo>
                    <a:pt x="261" y="1080"/>
                    <a:pt x="257" y="1087"/>
                    <a:pt x="255" y="1084"/>
                  </a:cubicBezTo>
                  <a:close/>
                  <a:moveTo>
                    <a:pt x="231" y="1037"/>
                  </a:moveTo>
                  <a:cubicBezTo>
                    <a:pt x="230" y="1036"/>
                    <a:pt x="229" y="1035"/>
                    <a:pt x="228" y="1034"/>
                  </a:cubicBezTo>
                  <a:cubicBezTo>
                    <a:pt x="230" y="1033"/>
                    <a:pt x="231" y="1032"/>
                    <a:pt x="232" y="1032"/>
                  </a:cubicBezTo>
                  <a:cubicBezTo>
                    <a:pt x="232" y="1033"/>
                    <a:pt x="233" y="1034"/>
                    <a:pt x="234" y="1035"/>
                  </a:cubicBezTo>
                  <a:cubicBezTo>
                    <a:pt x="233" y="1036"/>
                    <a:pt x="232" y="1036"/>
                    <a:pt x="231" y="1037"/>
                  </a:cubicBezTo>
                  <a:close/>
                  <a:moveTo>
                    <a:pt x="269" y="855"/>
                  </a:moveTo>
                  <a:cubicBezTo>
                    <a:pt x="270" y="855"/>
                    <a:pt x="267" y="849"/>
                    <a:pt x="267" y="849"/>
                  </a:cubicBezTo>
                  <a:cubicBezTo>
                    <a:pt x="269" y="847"/>
                    <a:pt x="275" y="856"/>
                    <a:pt x="269" y="855"/>
                  </a:cubicBezTo>
                  <a:close/>
                  <a:moveTo>
                    <a:pt x="301" y="886"/>
                  </a:moveTo>
                  <a:cubicBezTo>
                    <a:pt x="298" y="882"/>
                    <a:pt x="298" y="880"/>
                    <a:pt x="302" y="877"/>
                  </a:cubicBezTo>
                  <a:cubicBezTo>
                    <a:pt x="305" y="881"/>
                    <a:pt x="305" y="884"/>
                    <a:pt x="301" y="886"/>
                  </a:cubicBezTo>
                  <a:close/>
                  <a:moveTo>
                    <a:pt x="301" y="817"/>
                  </a:moveTo>
                  <a:cubicBezTo>
                    <a:pt x="301" y="815"/>
                    <a:pt x="302" y="814"/>
                    <a:pt x="301" y="812"/>
                  </a:cubicBezTo>
                  <a:cubicBezTo>
                    <a:pt x="300" y="808"/>
                    <a:pt x="305" y="812"/>
                    <a:pt x="303" y="813"/>
                  </a:cubicBezTo>
                  <a:cubicBezTo>
                    <a:pt x="305" y="816"/>
                    <a:pt x="303" y="818"/>
                    <a:pt x="306" y="821"/>
                  </a:cubicBezTo>
                  <a:cubicBezTo>
                    <a:pt x="305" y="825"/>
                    <a:pt x="306" y="829"/>
                    <a:pt x="308" y="834"/>
                  </a:cubicBezTo>
                  <a:cubicBezTo>
                    <a:pt x="300" y="833"/>
                    <a:pt x="306" y="822"/>
                    <a:pt x="301" y="817"/>
                  </a:cubicBezTo>
                  <a:close/>
                  <a:moveTo>
                    <a:pt x="481" y="717"/>
                  </a:moveTo>
                  <a:cubicBezTo>
                    <a:pt x="482" y="721"/>
                    <a:pt x="472" y="722"/>
                    <a:pt x="468" y="723"/>
                  </a:cubicBezTo>
                  <a:cubicBezTo>
                    <a:pt x="467" y="719"/>
                    <a:pt x="478" y="718"/>
                    <a:pt x="481" y="717"/>
                  </a:cubicBezTo>
                  <a:close/>
                  <a:moveTo>
                    <a:pt x="463" y="722"/>
                  </a:moveTo>
                  <a:cubicBezTo>
                    <a:pt x="465" y="726"/>
                    <a:pt x="456" y="728"/>
                    <a:pt x="455" y="728"/>
                  </a:cubicBezTo>
                  <a:cubicBezTo>
                    <a:pt x="452" y="724"/>
                    <a:pt x="461" y="722"/>
                    <a:pt x="463" y="722"/>
                  </a:cubicBezTo>
                  <a:close/>
                  <a:moveTo>
                    <a:pt x="356" y="782"/>
                  </a:moveTo>
                  <a:cubicBezTo>
                    <a:pt x="358" y="781"/>
                    <a:pt x="359" y="780"/>
                    <a:pt x="361" y="778"/>
                  </a:cubicBezTo>
                  <a:cubicBezTo>
                    <a:pt x="368" y="777"/>
                    <a:pt x="358" y="783"/>
                    <a:pt x="356" y="785"/>
                  </a:cubicBezTo>
                  <a:cubicBezTo>
                    <a:pt x="353" y="786"/>
                    <a:pt x="354" y="783"/>
                    <a:pt x="356" y="782"/>
                  </a:cubicBezTo>
                  <a:close/>
                  <a:moveTo>
                    <a:pt x="393" y="618"/>
                  </a:moveTo>
                  <a:cubicBezTo>
                    <a:pt x="387" y="621"/>
                    <a:pt x="392" y="614"/>
                    <a:pt x="388" y="612"/>
                  </a:cubicBezTo>
                  <a:cubicBezTo>
                    <a:pt x="392" y="609"/>
                    <a:pt x="392" y="617"/>
                    <a:pt x="393" y="618"/>
                  </a:cubicBezTo>
                  <a:close/>
                  <a:moveTo>
                    <a:pt x="407" y="682"/>
                  </a:moveTo>
                  <a:cubicBezTo>
                    <a:pt x="410" y="678"/>
                    <a:pt x="412" y="674"/>
                    <a:pt x="418" y="671"/>
                  </a:cubicBezTo>
                  <a:cubicBezTo>
                    <a:pt x="450" y="660"/>
                    <a:pt x="454" y="654"/>
                    <a:pt x="457" y="653"/>
                  </a:cubicBezTo>
                  <a:cubicBezTo>
                    <a:pt x="483" y="644"/>
                    <a:pt x="490" y="641"/>
                    <a:pt x="496" y="639"/>
                  </a:cubicBezTo>
                  <a:cubicBezTo>
                    <a:pt x="536" y="628"/>
                    <a:pt x="539" y="625"/>
                    <a:pt x="543" y="625"/>
                  </a:cubicBezTo>
                  <a:cubicBezTo>
                    <a:pt x="574" y="618"/>
                    <a:pt x="580" y="613"/>
                    <a:pt x="586" y="614"/>
                  </a:cubicBezTo>
                  <a:cubicBezTo>
                    <a:pt x="673" y="563"/>
                    <a:pt x="672" y="564"/>
                    <a:pt x="671" y="565"/>
                  </a:cubicBezTo>
                  <a:cubicBezTo>
                    <a:pt x="622" y="601"/>
                    <a:pt x="616" y="610"/>
                    <a:pt x="597" y="618"/>
                  </a:cubicBezTo>
                  <a:cubicBezTo>
                    <a:pt x="544" y="639"/>
                    <a:pt x="541" y="643"/>
                    <a:pt x="537" y="644"/>
                  </a:cubicBezTo>
                  <a:cubicBezTo>
                    <a:pt x="519" y="649"/>
                    <a:pt x="512" y="654"/>
                    <a:pt x="505" y="655"/>
                  </a:cubicBezTo>
                  <a:cubicBezTo>
                    <a:pt x="445" y="679"/>
                    <a:pt x="427" y="685"/>
                    <a:pt x="408" y="693"/>
                  </a:cubicBezTo>
                  <a:cubicBezTo>
                    <a:pt x="383" y="709"/>
                    <a:pt x="384" y="706"/>
                    <a:pt x="383" y="704"/>
                  </a:cubicBezTo>
                  <a:cubicBezTo>
                    <a:pt x="397" y="688"/>
                    <a:pt x="401" y="686"/>
                    <a:pt x="403" y="684"/>
                  </a:cubicBezTo>
                  <a:close/>
                  <a:moveTo>
                    <a:pt x="532" y="454"/>
                  </a:moveTo>
                  <a:cubicBezTo>
                    <a:pt x="532" y="450"/>
                    <a:pt x="531" y="447"/>
                    <a:pt x="535" y="444"/>
                  </a:cubicBezTo>
                  <a:cubicBezTo>
                    <a:pt x="538" y="448"/>
                    <a:pt x="536" y="451"/>
                    <a:pt x="532" y="454"/>
                  </a:cubicBezTo>
                  <a:close/>
                  <a:moveTo>
                    <a:pt x="627" y="333"/>
                  </a:moveTo>
                  <a:cubicBezTo>
                    <a:pt x="626" y="331"/>
                    <a:pt x="628" y="329"/>
                    <a:pt x="627" y="326"/>
                  </a:cubicBezTo>
                  <a:cubicBezTo>
                    <a:pt x="631" y="324"/>
                    <a:pt x="631" y="332"/>
                    <a:pt x="627" y="333"/>
                  </a:cubicBezTo>
                  <a:close/>
                  <a:moveTo>
                    <a:pt x="722" y="53"/>
                  </a:moveTo>
                  <a:cubicBezTo>
                    <a:pt x="723" y="56"/>
                    <a:pt x="721" y="59"/>
                    <a:pt x="718" y="61"/>
                  </a:cubicBezTo>
                  <a:cubicBezTo>
                    <a:pt x="713" y="58"/>
                    <a:pt x="719" y="56"/>
                    <a:pt x="722" y="53"/>
                  </a:cubicBezTo>
                  <a:close/>
                  <a:moveTo>
                    <a:pt x="670" y="251"/>
                  </a:moveTo>
                  <a:cubicBezTo>
                    <a:pt x="668" y="255"/>
                    <a:pt x="668" y="260"/>
                    <a:pt x="668" y="264"/>
                  </a:cubicBezTo>
                  <a:cubicBezTo>
                    <a:pt x="664" y="281"/>
                    <a:pt x="657" y="284"/>
                    <a:pt x="658" y="289"/>
                  </a:cubicBezTo>
                  <a:cubicBezTo>
                    <a:pt x="652" y="296"/>
                    <a:pt x="652" y="292"/>
                    <a:pt x="653" y="288"/>
                  </a:cubicBezTo>
                  <a:cubicBezTo>
                    <a:pt x="661" y="245"/>
                    <a:pt x="661" y="237"/>
                    <a:pt x="665" y="230"/>
                  </a:cubicBezTo>
                  <a:cubicBezTo>
                    <a:pt x="666" y="215"/>
                    <a:pt x="662" y="210"/>
                    <a:pt x="666" y="207"/>
                  </a:cubicBezTo>
                  <a:cubicBezTo>
                    <a:pt x="670" y="171"/>
                    <a:pt x="675" y="168"/>
                    <a:pt x="674" y="164"/>
                  </a:cubicBezTo>
                  <a:cubicBezTo>
                    <a:pt x="679" y="136"/>
                    <a:pt x="684" y="129"/>
                    <a:pt x="685" y="122"/>
                  </a:cubicBezTo>
                  <a:cubicBezTo>
                    <a:pt x="704" y="89"/>
                    <a:pt x="704" y="75"/>
                    <a:pt x="716" y="63"/>
                  </a:cubicBezTo>
                  <a:cubicBezTo>
                    <a:pt x="709" y="86"/>
                    <a:pt x="708" y="91"/>
                    <a:pt x="704" y="96"/>
                  </a:cubicBezTo>
                  <a:cubicBezTo>
                    <a:pt x="684" y="166"/>
                    <a:pt x="687" y="171"/>
                    <a:pt x="684" y="174"/>
                  </a:cubicBezTo>
                  <a:cubicBezTo>
                    <a:pt x="678" y="204"/>
                    <a:pt x="677" y="208"/>
                    <a:pt x="678" y="213"/>
                  </a:cubicBezTo>
                  <a:cubicBezTo>
                    <a:pt x="672" y="242"/>
                    <a:pt x="669" y="246"/>
                    <a:pt x="670" y="251"/>
                  </a:cubicBezTo>
                  <a:close/>
                </a:path>
              </a:pathLst>
            </a:custGeom>
            <a:solidFill>
              <a:schemeClr val="accent3">
                <a:lumMod val="60000"/>
                <a:lumOff val="40000"/>
                <a:alpha val="50000"/>
              </a:schemeClr>
            </a:solidFill>
            <a:ln>
              <a:noFill/>
            </a:ln>
          </p:spPr>
        </p:sp>
      </p:grp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937ACE-BCBE-497B-84DE-D228600DCB43}" type="datetimeFigureOut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2019/08/08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E97544-66FC-4A70-AC1A-8601338DE4A1}" type="slidenum">
              <a:rPr lang="en-ZA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ZA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33208624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540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2585688"/>
            <a:ext cx="9144000" cy="493486"/>
          </a:xfrm>
          <a:prstGeom prst="rect">
            <a:avLst/>
          </a:prstGeom>
        </p:spPr>
      </p:pic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7164288" y="5398045"/>
            <a:ext cx="1512168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2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6" name="Picture 5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4701" y="382084"/>
            <a:ext cx="5400600" cy="1576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="" val="373674931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rgbClr val="00499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44501" y="1981201"/>
            <a:ext cx="8255000" cy="1889763"/>
          </a:xfrm>
        </p:spPr>
        <p:txBody>
          <a:bodyPr anchor="b"/>
          <a:lstStyle>
            <a:lvl1pPr algn="ctr">
              <a:lnSpc>
                <a:spcPct val="80000"/>
              </a:lnSpc>
              <a:defRPr sz="4500" kern="1200" cap="all" spc="113">
                <a:solidFill>
                  <a:schemeClr val="bg1"/>
                </a:solidFill>
                <a:effectLst>
                  <a:outerShdw blurRad="381000" dist="381000" dir="2700000" algn="tl" rotWithShape="0">
                    <a:srgbClr val="000000">
                      <a:alpha val="35000"/>
                    </a:srgbClr>
                  </a:outerShdw>
                </a:effectLst>
                <a:latin typeface="Montserrat-Bold"/>
                <a:cs typeface="Montserrat-Bold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44501" y="3783977"/>
            <a:ext cx="8255000" cy="574667"/>
          </a:xfrm>
        </p:spPr>
        <p:txBody>
          <a:bodyPr/>
          <a:lstStyle>
            <a:lvl1pPr marL="0" indent="0" algn="ctr">
              <a:lnSpc>
                <a:spcPct val="100000"/>
              </a:lnSpc>
              <a:buNone/>
              <a:defRPr sz="1500" b="0" i="0" cap="none" spc="0">
                <a:solidFill>
                  <a:schemeClr val="bg1"/>
                </a:solidFill>
                <a:latin typeface="Montserrat-Regular"/>
                <a:cs typeface="Montserrat-Regular"/>
              </a:defRPr>
            </a:lvl1pPr>
            <a:lvl2pPr marL="34268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3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0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07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34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60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987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14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80701525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xmlns="" val="348644087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bg>
      <p:bgPr>
        <a:solidFill>
          <a:srgbClr val="00499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2663" y="1397080"/>
            <a:ext cx="7984067" cy="818013"/>
          </a:xfrm>
        </p:spPr>
        <p:txBody>
          <a:bodyPr anchor="ctr"/>
          <a:lstStyle>
            <a:lvl1pPr algn="ctr">
              <a:defRPr sz="1200">
                <a:solidFill>
                  <a:schemeClr val="bg1">
                    <a:lumMod val="75000"/>
                  </a:schemeClr>
                </a:solidFill>
                <a:latin typeface="Montserrat-Bold"/>
                <a:cs typeface="Montserrat-Bold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58847" y="1444431"/>
            <a:ext cx="7226308" cy="3969145"/>
          </a:xfrm>
        </p:spPr>
        <p:txBody>
          <a:bodyPr anchor="ctr"/>
          <a:lstStyle>
            <a:lvl1pPr marL="0" indent="0" algn="ctr">
              <a:buFontTx/>
              <a:buNone/>
              <a:defRPr sz="2400">
                <a:solidFill>
                  <a:srgbClr val="FFFFFF"/>
                </a:solidFill>
                <a:effectLst>
                  <a:outerShdw blurRad="381000" dist="381000" dir="2700000" algn="tl" rotWithShape="0">
                    <a:srgbClr val="000000">
                      <a:alpha val="35000"/>
                    </a:srgbClr>
                  </a:outerShdw>
                </a:effectLst>
              </a:defRPr>
            </a:lvl1pPr>
            <a:lvl2pPr marL="0" indent="0" algn="ctr">
              <a:buFontTx/>
              <a:buNone/>
              <a:defRPr>
                <a:solidFill>
                  <a:srgbClr val="FFFFFF"/>
                </a:solidFill>
                <a:effectLst>
                  <a:outerShdw blurRad="381000" dist="381000" dir="2700000" algn="tl" rotWithShape="0">
                    <a:srgbClr val="000000">
                      <a:alpha val="35000"/>
                    </a:srgbClr>
                  </a:outerShdw>
                </a:effectLst>
              </a:defRPr>
            </a:lvl2pPr>
            <a:lvl3pPr marL="0" indent="0" algn="ctr">
              <a:buFontTx/>
              <a:buNone/>
              <a:defRPr>
                <a:solidFill>
                  <a:srgbClr val="FFFFFF"/>
                </a:solidFill>
                <a:effectLst>
                  <a:outerShdw blurRad="381000" dist="381000" dir="2700000" algn="tl" rotWithShape="0">
                    <a:srgbClr val="000000">
                      <a:alpha val="35000"/>
                    </a:srgbClr>
                  </a:outerShdw>
                </a:effectLst>
              </a:defRPr>
            </a:lvl3pPr>
            <a:lvl4pPr marL="0" indent="0" algn="ctr">
              <a:buFontTx/>
              <a:buNone/>
              <a:defRPr>
                <a:solidFill>
                  <a:srgbClr val="FFFFFF"/>
                </a:solidFill>
                <a:effectLst>
                  <a:outerShdw blurRad="381000" dist="381000" dir="2700000" algn="tl" rotWithShape="0">
                    <a:srgbClr val="000000">
                      <a:alpha val="35000"/>
                    </a:srgbClr>
                  </a:outerShdw>
                </a:effectLst>
              </a:defRPr>
            </a:lvl4pPr>
            <a:lvl5pPr marL="0" indent="0" algn="ctr">
              <a:buFontTx/>
              <a:buNone/>
              <a:defRPr>
                <a:solidFill>
                  <a:srgbClr val="FFFFFF"/>
                </a:solidFill>
                <a:effectLst>
                  <a:outerShdw blurRad="381000" dist="381000" dir="2700000" algn="tl" rotWithShape="0">
                    <a:srgbClr val="000000">
                      <a:alpha val="35000"/>
                    </a:srgbClr>
                  </a:outerShdw>
                </a:effectLst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xmlns="" val="90013058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33189" y="1444431"/>
            <a:ext cx="7277624" cy="3969145"/>
          </a:xfrm>
        </p:spPr>
        <p:txBody>
          <a:bodyPr anchor="ctr"/>
          <a:lstStyle>
            <a:lvl1pPr marL="0" indent="0" algn="ctr">
              <a:buFontTx/>
              <a:buNone/>
              <a:defRPr sz="2400">
                <a:solidFill>
                  <a:schemeClr val="tx1"/>
                </a:solidFill>
              </a:defRPr>
            </a:lvl1pPr>
            <a:lvl2pPr marL="0" indent="0" algn="ctr">
              <a:buFontTx/>
              <a:buNone/>
              <a:defRPr>
                <a:solidFill>
                  <a:schemeClr val="tx1"/>
                </a:solidFill>
              </a:defRPr>
            </a:lvl2pPr>
            <a:lvl3pPr marL="0" indent="0" algn="ctr">
              <a:buFontTx/>
              <a:buNone/>
              <a:defRPr>
                <a:solidFill>
                  <a:schemeClr val="tx1"/>
                </a:solidFill>
              </a:defRPr>
            </a:lvl3pPr>
            <a:lvl4pPr marL="0" indent="0" algn="ctr">
              <a:buFontTx/>
              <a:buNone/>
              <a:defRPr>
                <a:solidFill>
                  <a:schemeClr val="tx1"/>
                </a:solidFill>
              </a:defRPr>
            </a:lvl4pPr>
            <a:lvl5pPr marL="0" indent="0" algn="ctr">
              <a:buFontTx/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592663" y="1384648"/>
            <a:ext cx="7984067" cy="818013"/>
          </a:xfrm>
        </p:spPr>
        <p:txBody>
          <a:bodyPr anchor="ctr"/>
          <a:lstStyle>
            <a:lvl1pPr algn="ctr">
              <a:defRPr sz="1200" b="1" i="0">
                <a:solidFill>
                  <a:schemeClr val="tx1">
                    <a:lumMod val="65000"/>
                    <a:lumOff val="35000"/>
                  </a:schemeClr>
                </a:solidFill>
                <a:latin typeface="Montserrat"/>
                <a:cs typeface="DIN Alternate Bold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342760293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Spli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07474" y="2036498"/>
            <a:ext cx="3945467" cy="894804"/>
          </a:xfrm>
        </p:spPr>
        <p:txBody>
          <a:bodyPr anchor="b"/>
          <a:lstStyle>
            <a:lvl1pPr algn="l">
              <a:lnSpc>
                <a:spcPct val="100000"/>
              </a:lnSpc>
              <a:defRPr sz="2400" b="0" i="0" cap="none" spc="0">
                <a:latin typeface="Gotham Light"/>
                <a:cs typeface="Gotham Ligh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73136" y="3202955"/>
            <a:ext cx="3479805" cy="3184492"/>
          </a:xfrm>
        </p:spPr>
        <p:txBody>
          <a:bodyPr/>
          <a:lstStyle>
            <a:lvl1pPr>
              <a:spcBef>
                <a:spcPts val="600"/>
              </a:spcBef>
              <a:defRPr sz="1500"/>
            </a:lvl1pPr>
            <a:lvl2pPr>
              <a:spcBef>
                <a:spcPts val="600"/>
              </a:spcBef>
              <a:defRPr sz="1350"/>
            </a:lvl2pPr>
            <a:lvl3pPr>
              <a:spcBef>
                <a:spcPts val="600"/>
              </a:spcBef>
              <a:defRPr sz="1200"/>
            </a:lvl3pPr>
            <a:lvl4pPr>
              <a:spcBef>
                <a:spcPts val="600"/>
              </a:spcBef>
              <a:defRPr sz="1050"/>
            </a:lvl4pPr>
            <a:lvl5pPr>
              <a:spcBef>
                <a:spcPts val="6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xmlns="" val="145091025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Split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3383" y="2036498"/>
            <a:ext cx="3945467" cy="894804"/>
          </a:xfrm>
        </p:spPr>
        <p:txBody>
          <a:bodyPr anchor="b"/>
          <a:lstStyle>
            <a:lvl1pPr algn="l">
              <a:lnSpc>
                <a:spcPct val="100000"/>
              </a:lnSpc>
              <a:defRPr sz="2400" b="0" i="0" cap="none" spc="0">
                <a:latin typeface="Gotham Light"/>
                <a:cs typeface="Gotham Ligh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99044" y="3202955"/>
            <a:ext cx="3479805" cy="3184492"/>
          </a:xfrm>
        </p:spPr>
        <p:txBody>
          <a:bodyPr/>
          <a:lstStyle>
            <a:lvl1pPr>
              <a:spcBef>
                <a:spcPts val="600"/>
              </a:spcBef>
              <a:defRPr sz="1500"/>
            </a:lvl1pPr>
            <a:lvl2pPr>
              <a:spcBef>
                <a:spcPts val="600"/>
              </a:spcBef>
              <a:defRPr sz="1350"/>
            </a:lvl2pPr>
            <a:lvl3pPr>
              <a:spcBef>
                <a:spcPts val="600"/>
              </a:spcBef>
              <a:defRPr sz="1200"/>
            </a:lvl3pPr>
            <a:lvl4pPr>
              <a:spcBef>
                <a:spcPts val="600"/>
              </a:spcBef>
              <a:defRPr sz="1050"/>
            </a:lvl4pPr>
            <a:lvl5pPr>
              <a:spcBef>
                <a:spcPts val="600"/>
              </a:spcBef>
              <a:defRPr sz="105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xmlns="" val="2180085531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v5">
    <p:bg>
      <p:bgPr>
        <a:solidFill>
          <a:srgbClr val="0D0D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2726371"/>
            <a:ext cx="8382000" cy="1362076"/>
          </a:xfrm>
        </p:spPr>
        <p:txBody>
          <a:bodyPr/>
          <a:lstStyle>
            <a:lvl1pPr algn="ctr">
              <a:lnSpc>
                <a:spcPct val="100000"/>
              </a:lnSpc>
              <a:defRPr sz="3750" b="1" i="0" kern="0" cap="all" spc="105">
                <a:solidFill>
                  <a:srgbClr val="FFFFFF"/>
                </a:solidFill>
                <a:effectLst>
                  <a:outerShdw blurRad="381000" dist="381000" dir="2700000" algn="tl" rotWithShape="0">
                    <a:srgbClr val="000000">
                      <a:alpha val="35000"/>
                    </a:srgbClr>
                  </a:outerShdw>
                </a:effectLst>
                <a:latin typeface="Montserrat"/>
                <a:cs typeface="DIN Condensed Bold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0"/>
          </p:nvPr>
        </p:nvSpPr>
        <p:spPr>
          <a:xfrm>
            <a:off x="381000" y="1632903"/>
            <a:ext cx="8382000" cy="1352551"/>
          </a:xfrm>
        </p:spPr>
        <p:txBody>
          <a:bodyPr anchor="b"/>
          <a:lstStyle>
            <a:lvl1pPr marL="0" indent="0" algn="ctr">
              <a:buNone/>
              <a:defRPr b="0" i="0" cap="none" spc="0">
                <a:solidFill>
                  <a:schemeClr val="bg1"/>
                </a:solidFill>
                <a:latin typeface="Gotham Light"/>
                <a:cs typeface="Gotham Light"/>
              </a:defRPr>
            </a:lvl1pPr>
            <a:lvl2pPr marL="342680" indent="0" algn="ctr">
              <a:buNone/>
              <a:defRPr b="0" i="0" spc="450">
                <a:solidFill>
                  <a:schemeClr val="accent1"/>
                </a:solidFill>
                <a:latin typeface="Gotham Bold"/>
                <a:cs typeface="Gotham Bold"/>
              </a:defRPr>
            </a:lvl2pPr>
            <a:lvl3pPr marL="685362" indent="0" algn="ctr">
              <a:buNone/>
              <a:defRPr b="0" i="0" spc="450">
                <a:solidFill>
                  <a:schemeClr val="accent1"/>
                </a:solidFill>
                <a:latin typeface="Gotham Bold"/>
                <a:cs typeface="Gotham Bold"/>
              </a:defRPr>
            </a:lvl3pPr>
            <a:lvl4pPr marL="1028042" indent="0" algn="ctr">
              <a:buNone/>
              <a:defRPr b="0" i="0" spc="450">
                <a:solidFill>
                  <a:schemeClr val="accent1"/>
                </a:solidFill>
                <a:latin typeface="Gotham Bold"/>
                <a:cs typeface="Gotham Bold"/>
              </a:defRPr>
            </a:lvl4pPr>
            <a:lvl5pPr marL="1370723" indent="0" algn="ctr">
              <a:buNone/>
              <a:defRPr b="0" i="0" spc="450">
                <a:solidFill>
                  <a:schemeClr val="accent1"/>
                </a:solidFill>
                <a:latin typeface="Gotham Bold"/>
                <a:cs typeface="Gotham Bold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72896686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 v5">
    <p:bg>
      <p:bgPr>
        <a:solidFill>
          <a:srgbClr val="0D0D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2282506"/>
            <a:ext cx="8382000" cy="1362076"/>
          </a:xfrm>
        </p:spPr>
        <p:txBody>
          <a:bodyPr anchor="b"/>
          <a:lstStyle>
            <a:lvl1pPr algn="ctr">
              <a:lnSpc>
                <a:spcPct val="100000"/>
              </a:lnSpc>
              <a:defRPr sz="9000" b="1" i="0" kern="0" cap="all" spc="105">
                <a:solidFill>
                  <a:schemeClr val="bg1"/>
                </a:solidFill>
                <a:effectLst>
                  <a:outerShdw blurRad="381000" dist="381000" dir="2700000" algn="tl" rotWithShape="0">
                    <a:srgbClr val="000000">
                      <a:alpha val="35000"/>
                    </a:srgbClr>
                  </a:outerShdw>
                </a:effectLst>
                <a:latin typeface="Montserrat-Bold"/>
                <a:cs typeface="Montserrat-Bold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0"/>
          </p:nvPr>
        </p:nvSpPr>
        <p:spPr>
          <a:xfrm>
            <a:off x="381000" y="3644583"/>
            <a:ext cx="8382000" cy="1352551"/>
          </a:xfrm>
        </p:spPr>
        <p:txBody>
          <a:bodyPr anchor="t"/>
          <a:lstStyle>
            <a:lvl1pPr marL="0" indent="0" algn="ctr">
              <a:buNone/>
              <a:defRPr b="0" i="0" cap="none" spc="0">
                <a:solidFill>
                  <a:schemeClr val="bg1"/>
                </a:solidFill>
                <a:latin typeface="Gotham Light"/>
                <a:cs typeface="Gotham Light"/>
              </a:defRPr>
            </a:lvl1pPr>
            <a:lvl2pPr marL="342680" indent="0" algn="ctr">
              <a:buNone/>
              <a:defRPr b="0" i="0" spc="450">
                <a:solidFill>
                  <a:schemeClr val="accent1"/>
                </a:solidFill>
                <a:latin typeface="Gotham Bold"/>
                <a:cs typeface="Gotham Bold"/>
              </a:defRPr>
            </a:lvl2pPr>
            <a:lvl3pPr marL="685362" indent="0" algn="ctr">
              <a:buNone/>
              <a:defRPr b="0" i="0" spc="450">
                <a:solidFill>
                  <a:schemeClr val="accent1"/>
                </a:solidFill>
                <a:latin typeface="Gotham Bold"/>
                <a:cs typeface="Gotham Bold"/>
              </a:defRPr>
            </a:lvl3pPr>
            <a:lvl4pPr marL="1028042" indent="0" algn="ctr">
              <a:buNone/>
              <a:defRPr b="0" i="0" spc="450">
                <a:solidFill>
                  <a:schemeClr val="accent1"/>
                </a:solidFill>
                <a:latin typeface="Gotham Bold"/>
                <a:cs typeface="Gotham Bold"/>
              </a:defRPr>
            </a:lvl4pPr>
            <a:lvl5pPr marL="1370723" indent="0" algn="ctr">
              <a:buNone/>
              <a:defRPr b="0" i="0" spc="450">
                <a:solidFill>
                  <a:schemeClr val="accent1"/>
                </a:solidFill>
                <a:latin typeface="Gotham Bold"/>
                <a:cs typeface="Gotham Bold"/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5858789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bg>
      <p:bgPr>
        <a:solidFill>
          <a:srgbClr val="0D0D0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381000" y="381000"/>
            <a:ext cx="8382000" cy="6096000"/>
          </a:xfrm>
        </p:spPr>
        <p:txBody>
          <a:bodyPr anchor="ctr"/>
          <a:lstStyle>
            <a:lvl1pPr algn="ctr">
              <a:lnSpc>
                <a:spcPct val="120000"/>
              </a:lnSpc>
              <a:defRPr sz="3300" b="0" i="0" cap="none">
                <a:solidFill>
                  <a:srgbClr val="FFFFFF"/>
                </a:solidFill>
                <a:effectLst>
                  <a:outerShdw blurRad="381000" dist="381000" dir="2700000" algn="tl" rotWithShape="0">
                    <a:srgbClr val="000000">
                      <a:alpha val="35000"/>
                    </a:srgbClr>
                  </a:outerShdw>
                </a:effectLst>
                <a:latin typeface="Gotham Light"/>
                <a:cs typeface="Gotham Ligh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3047527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2"/>
            <a:ext cx="403860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2"/>
            <a:ext cx="4038600" cy="4525963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xmlns="" val="428238383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/>
              <a:t>Game Changer Presentation</a:t>
            </a:r>
            <a:endParaRPr lang="en-GB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654821166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22"/>
            <a:ext cx="4040188" cy="639763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681" indent="0">
              <a:buNone/>
              <a:defRPr sz="1500" b="1"/>
            </a:lvl2pPr>
            <a:lvl3pPr marL="685362" indent="0">
              <a:buNone/>
              <a:defRPr sz="1350" b="1"/>
            </a:lvl3pPr>
            <a:lvl4pPr marL="1028043" indent="0">
              <a:buNone/>
              <a:defRPr sz="1200" b="1"/>
            </a:lvl4pPr>
            <a:lvl5pPr marL="1370724" indent="0">
              <a:buNone/>
              <a:defRPr sz="1200" b="1"/>
            </a:lvl5pPr>
            <a:lvl6pPr marL="1713405" indent="0">
              <a:buNone/>
              <a:defRPr sz="1200" b="1"/>
            </a:lvl6pPr>
            <a:lvl7pPr marL="2056086" indent="0">
              <a:buNone/>
              <a:defRPr sz="1200" b="1"/>
            </a:lvl7pPr>
            <a:lvl8pPr marL="2398767" indent="0">
              <a:buNone/>
              <a:defRPr sz="1200" b="1"/>
            </a:lvl8pPr>
            <a:lvl9pPr marL="2741448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4" y="1535122"/>
            <a:ext cx="4041775" cy="639763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681" indent="0">
              <a:buNone/>
              <a:defRPr sz="1500" b="1"/>
            </a:lvl2pPr>
            <a:lvl3pPr marL="685362" indent="0">
              <a:buNone/>
              <a:defRPr sz="1350" b="1"/>
            </a:lvl3pPr>
            <a:lvl4pPr marL="1028043" indent="0">
              <a:buNone/>
              <a:defRPr sz="1200" b="1"/>
            </a:lvl4pPr>
            <a:lvl5pPr marL="1370724" indent="0">
              <a:buNone/>
              <a:defRPr sz="1200" b="1"/>
            </a:lvl5pPr>
            <a:lvl6pPr marL="1713405" indent="0">
              <a:buNone/>
              <a:defRPr sz="1200" b="1"/>
            </a:lvl6pPr>
            <a:lvl7pPr marL="2056086" indent="0">
              <a:buNone/>
              <a:defRPr sz="1200" b="1"/>
            </a:lvl7pPr>
            <a:lvl8pPr marL="2398767" indent="0">
              <a:buNone/>
              <a:defRPr sz="1200" b="1"/>
            </a:lvl8pPr>
            <a:lvl9pPr marL="2741448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4" y="2174875"/>
            <a:ext cx="4041775" cy="3951288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35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xmlns="" val="389559214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61713664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299807593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46103" y="823183"/>
            <a:ext cx="8051798" cy="5211636"/>
          </a:xfrm>
        </p:spPr>
        <p:txBody>
          <a:bodyPr anchor="ctr"/>
          <a:lstStyle>
            <a:lvl1pPr marL="0" indent="0" algn="ctr">
              <a:lnSpc>
                <a:spcPct val="100000"/>
              </a:lnSpc>
              <a:buFont typeface="Arial"/>
              <a:buNone/>
              <a:defRPr sz="2400" b="0" i="0" spc="0">
                <a:solidFill>
                  <a:srgbClr val="FFFFFF"/>
                </a:solidFill>
                <a:latin typeface="Gotham Light"/>
                <a:cs typeface="Gotham Light"/>
              </a:defRPr>
            </a:lvl1pPr>
            <a:lvl2pPr marL="342681" indent="0">
              <a:buFont typeface="Arial"/>
              <a:buNone/>
              <a:defRPr/>
            </a:lvl2pPr>
            <a:lvl3pPr marL="685362" indent="0">
              <a:buFont typeface="Arial"/>
              <a:buNone/>
              <a:defRPr/>
            </a:lvl3pPr>
            <a:lvl4pPr marL="1028043" indent="0">
              <a:buNone/>
              <a:defRPr/>
            </a:lvl4pPr>
            <a:lvl5pPr marL="1370724" indent="0"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11000372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2586038"/>
            <a:ext cx="9144000" cy="493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5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4013" y="382588"/>
            <a:ext cx="5400675" cy="1576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tIns="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tIns="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2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Date Placeholder 11"/>
          <p:cNvSpPr>
            <a:spLocks noGrp="1"/>
          </p:cNvSpPr>
          <p:nvPr>
            <p:ph type="dt" sz="half" idx="12"/>
          </p:nvPr>
        </p:nvSpPr>
        <p:spPr>
          <a:xfrm>
            <a:off x="7164388" y="5397500"/>
            <a:ext cx="15113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defTabSz="914400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white"/>
                </a:solidFill>
                <a:latin typeface="Century Gothic"/>
                <a:cs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74680140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9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4601" name="think-cell Slide" r:id="rId7" imgW="270" imgH="270" progId="">
              <p:embed/>
            </p:oleObj>
          </a:graphicData>
        </a:graphic>
      </p:graphicFrame>
      <p:pic>
        <p:nvPicPr>
          <p:cNvPr id="5" name="Picture 8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739775"/>
            <a:ext cx="9144000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6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2060575" y="6467475"/>
            <a:ext cx="1944688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0" b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sz="800">
                <a:solidFill>
                  <a:srgbClr val="998F8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© Western Cape Government 2012  |</a:t>
            </a:r>
            <a:endParaRPr lang="en-GB" sz="800">
              <a:solidFill>
                <a:srgbClr val="998F86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107" descr="C:\Users\Conny\Desktop\WCG\WCG - Logo\PNG\Logos blue\WCG - Logo - General - Blue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4638" y="6148388"/>
            <a:ext cx="1108075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8597205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1"/>
            <p:custDataLst>
              <p:tags r:id="rId4"/>
            </p:custDataLst>
          </p:nvPr>
        </p:nvSpPr>
        <p:spPr/>
        <p:txBody>
          <a:bodyPr/>
          <a:lstStyle>
            <a:lvl1pPr algn="r" defTabSz="4572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3399"/>
                </a:solidFill>
                <a:latin typeface="Century Gothic" pitchFamily="34" charset="0"/>
                <a:cs typeface="+mn-cs"/>
              </a:defRPr>
            </a:lvl1pPr>
          </a:lstStyle>
          <a:p>
            <a:pPr>
              <a:defRPr/>
            </a:pPr>
            <a:fld id="{5942BC97-4D46-4608-A8FA-6023E8B2B215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2"/>
            <p:custDataLst>
              <p:tags r:id="rId5"/>
            </p:custDataLst>
          </p:nvPr>
        </p:nvSpPr>
        <p:spPr/>
        <p:txBody>
          <a:bodyPr/>
          <a:lstStyle>
            <a:lvl1pPr algn="l" defTabSz="4572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rgbClr val="998F86"/>
                </a:solidFill>
                <a:latin typeface="Arial" panose="020B0604020202020204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ZA"/>
              <a:t>Stocktak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22561988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9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5625" name="think-cell Slide" r:id="rId7" imgW="270" imgH="270" progId="">
              <p:embed/>
            </p:oleObj>
          </a:graphicData>
        </a:graphic>
      </p:graphicFrame>
      <p:pic>
        <p:nvPicPr>
          <p:cNvPr id="6" name="Picture 8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739775"/>
            <a:ext cx="9144000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6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2060575" y="6467475"/>
            <a:ext cx="1944688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0" b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sz="800">
                <a:solidFill>
                  <a:srgbClr val="998F8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© Western Cape Government 2012  |</a:t>
            </a:r>
            <a:endParaRPr lang="en-GB" sz="800">
              <a:solidFill>
                <a:srgbClr val="998F86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107" descr="C:\Users\Conny\Desktop\WCG\WCG - Logo\PNG\Logos blue\WCG - Logo - General - Blue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4638" y="6148388"/>
            <a:ext cx="1108075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>
            <a:lvl1pPr algn="r" defTabSz="4572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3399"/>
                </a:solidFill>
                <a:latin typeface="Century Gothic" pitchFamily="34" charset="0"/>
                <a:cs typeface="+mn-cs"/>
              </a:defRPr>
            </a:lvl1pPr>
          </a:lstStyle>
          <a:p>
            <a:pPr>
              <a:defRPr/>
            </a:pPr>
            <a:fld id="{7B2F68B0-4B48-4C2E-8077-FD586BEEAA8D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3"/>
            <p:custDataLst>
              <p:tags r:id="rId5"/>
            </p:custDataLst>
          </p:nvPr>
        </p:nvSpPr>
        <p:spPr/>
        <p:txBody>
          <a:bodyPr/>
          <a:lstStyle>
            <a:lvl1pPr algn="l" defTabSz="4572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rgbClr val="998F86"/>
                </a:solidFill>
                <a:latin typeface="Arial" panose="020B0604020202020204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ZA"/>
              <a:t>Stocktak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417601409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9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6649" name="think-cell Slide" r:id="rId5" imgW="270" imgH="270" progId="">
              <p:embed/>
            </p:oleObj>
          </a:graphicData>
        </a:graphic>
      </p:graphicFrame>
      <p:pic>
        <p:nvPicPr>
          <p:cNvPr id="4" name="Picture 8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739775"/>
            <a:ext cx="9144000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107" descr="C:\Users\Conny\Desktop\WCG\WCG - Logo\PNG\Logos blue\WCG - Logo - General - Blue.pn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4638" y="6148388"/>
            <a:ext cx="1108075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  <p:custDataLst>
              <p:tags r:id="rId3"/>
            </p:custDataLst>
          </p:nvPr>
        </p:nvSpPr>
        <p:spPr/>
        <p:txBody>
          <a:bodyPr/>
          <a:lstStyle>
            <a:lvl1pPr algn="r" defTabSz="4572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3399"/>
                </a:solidFill>
                <a:latin typeface="Century Gothic" pitchFamily="34" charset="0"/>
                <a:cs typeface="+mn-cs"/>
              </a:defRPr>
            </a:lvl1pPr>
          </a:lstStyle>
          <a:p>
            <a:pPr>
              <a:defRPr/>
            </a:pPr>
            <a:fld id="{1E2D11A2-9405-4394-AC81-39B59B817E90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xmlns="" val="736913844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9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7673" name="think-cell Slide" r:id="rId7" imgW="270" imgH="270" progId="">
              <p:embed/>
            </p:oleObj>
          </a:graphicData>
        </a:graphic>
      </p:graphicFrame>
      <p:pic>
        <p:nvPicPr>
          <p:cNvPr id="7" name="Picture 8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739775"/>
            <a:ext cx="9144000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6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2060575" y="6467475"/>
            <a:ext cx="1944688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0" b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sz="800">
                <a:solidFill>
                  <a:srgbClr val="998F8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© Western Cape Government 2012  |</a:t>
            </a:r>
            <a:endParaRPr lang="en-GB" sz="800">
              <a:solidFill>
                <a:srgbClr val="998F86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Picture 107" descr="C:\Users\Conny\Desktop\WCG\WCG - Logo\PNG\Logos blue\WCG - Logo - General - Blue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4638" y="6148388"/>
            <a:ext cx="1108075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412776"/>
            <a:ext cx="8597205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4"/>
            <p:custDataLst>
              <p:tags r:id="rId4"/>
            </p:custDataLst>
          </p:nvPr>
        </p:nvSpPr>
        <p:spPr/>
        <p:txBody>
          <a:bodyPr/>
          <a:lstStyle>
            <a:lvl1pPr algn="r" defTabSz="4572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3399"/>
                </a:solidFill>
                <a:latin typeface="Century Gothic" pitchFamily="34" charset="0"/>
                <a:cs typeface="+mn-cs"/>
              </a:defRPr>
            </a:lvl1pPr>
          </a:lstStyle>
          <a:p>
            <a:pPr>
              <a:defRPr/>
            </a:pPr>
            <a:fld id="{D9469351-E129-4327-9277-BC636BDFC7C2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5"/>
            <p:custDataLst>
              <p:tags r:id="rId5"/>
            </p:custDataLst>
          </p:nvPr>
        </p:nvSpPr>
        <p:spPr/>
        <p:txBody>
          <a:bodyPr/>
          <a:lstStyle>
            <a:lvl1pPr algn="l" defTabSz="4572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rgbClr val="998F86"/>
                </a:solidFill>
                <a:latin typeface="Arial" panose="020B0604020202020204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ZA"/>
              <a:t>Stocktak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15769947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9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8697" name="think-cell Slide" r:id="rId7" imgW="270" imgH="270" progId="">
              <p:embed/>
            </p:oleObj>
          </a:graphicData>
        </a:graphic>
      </p:graphicFrame>
      <p:pic>
        <p:nvPicPr>
          <p:cNvPr id="7" name="Picture 8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739775"/>
            <a:ext cx="9144000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6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2060575" y="6467475"/>
            <a:ext cx="1944688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0" b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sz="800">
                <a:solidFill>
                  <a:srgbClr val="998F8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© Western Cape Government 2012  |</a:t>
            </a:r>
            <a:endParaRPr lang="en-GB" sz="800">
              <a:solidFill>
                <a:srgbClr val="998F86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Picture 107" descr="C:\Users\Conny\Desktop\WCG\WCG - Logo\PNG\Logos blue\WCG - Logo - General - Blue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4638" y="6148388"/>
            <a:ext cx="1108075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6"/>
            <p:custDataLst>
              <p:tags r:id="rId4"/>
            </p:custDataLst>
          </p:nvPr>
        </p:nvSpPr>
        <p:spPr/>
        <p:txBody>
          <a:bodyPr/>
          <a:lstStyle>
            <a:lvl1pPr algn="r" defTabSz="4572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3399"/>
                </a:solidFill>
                <a:latin typeface="Century Gothic" pitchFamily="34" charset="0"/>
                <a:cs typeface="+mn-cs"/>
              </a:defRPr>
            </a:lvl1pPr>
          </a:lstStyle>
          <a:p>
            <a:pPr>
              <a:defRPr/>
            </a:pPr>
            <a:fld id="{ED3B731A-34B8-4ACB-BB81-2FAD5CD774E2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11" name="Footer Placeholder 4"/>
          <p:cNvSpPr>
            <a:spLocks noGrp="1"/>
          </p:cNvSpPr>
          <p:nvPr>
            <p:ph type="ftr" sz="quarter" idx="17"/>
            <p:custDataLst>
              <p:tags r:id="rId5"/>
            </p:custDataLst>
          </p:nvPr>
        </p:nvSpPr>
        <p:spPr/>
        <p:txBody>
          <a:bodyPr/>
          <a:lstStyle>
            <a:lvl1pPr algn="l" defTabSz="4572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rgbClr val="998F86"/>
                </a:solidFill>
                <a:latin typeface="Arial" panose="020B0604020202020204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ZA"/>
              <a:t>Stocktak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03391618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/>
              <a:t>Game Changer Presentation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4831779" y="1196752"/>
            <a:ext cx="4060701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19255605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9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9721" name="think-cell Slide" r:id="rId7" imgW="270" imgH="270" progId="">
              <p:embed/>
            </p:oleObj>
          </a:graphicData>
        </a:graphic>
      </p:graphicFrame>
      <p:pic>
        <p:nvPicPr>
          <p:cNvPr id="6" name="Picture 8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739775"/>
            <a:ext cx="9144000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6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2060575" y="6467475"/>
            <a:ext cx="1944688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0" b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sz="800">
                <a:solidFill>
                  <a:srgbClr val="998F8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© Western Cape Government 2012  |</a:t>
            </a:r>
            <a:endParaRPr lang="en-GB" sz="800">
              <a:solidFill>
                <a:srgbClr val="998F86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107" descr="C:\Users\Conny\Desktop\WCG\WCG - Logo\PNG\Logos blue\WCG - Logo - General - Blue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4638" y="6148388"/>
            <a:ext cx="1108075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4"/>
            <p:custDataLst>
              <p:tags r:id="rId4"/>
            </p:custDataLst>
          </p:nvPr>
        </p:nvSpPr>
        <p:spPr/>
        <p:txBody>
          <a:bodyPr/>
          <a:lstStyle>
            <a:lvl1pPr algn="r" defTabSz="4572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3399"/>
                </a:solidFill>
                <a:latin typeface="Century Gothic" pitchFamily="34" charset="0"/>
                <a:cs typeface="+mn-cs"/>
              </a:defRPr>
            </a:lvl1pPr>
          </a:lstStyle>
          <a:p>
            <a:pPr>
              <a:defRPr/>
            </a:pPr>
            <a:fld id="{6D2DCFCF-58C4-4C7E-A8EF-ED94CED64F37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5"/>
            <p:custDataLst>
              <p:tags r:id="rId5"/>
            </p:custDataLst>
          </p:nvPr>
        </p:nvSpPr>
        <p:spPr/>
        <p:txBody>
          <a:bodyPr/>
          <a:lstStyle>
            <a:lvl1pPr algn="l" defTabSz="4572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rgbClr val="998F86"/>
                </a:solidFill>
                <a:latin typeface="Arial" panose="020B0604020202020204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ZA"/>
              <a:t>Stocktak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621347285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9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0745" name="think-cell Slide" r:id="rId7" imgW="270" imgH="270" progId="">
              <p:embed/>
            </p:oleObj>
          </a:graphicData>
        </a:graphic>
      </p:graphicFrame>
      <p:pic>
        <p:nvPicPr>
          <p:cNvPr id="7" name="Picture 8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739775"/>
            <a:ext cx="9144000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6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2060575" y="6467475"/>
            <a:ext cx="1944688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0" b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sz="800">
                <a:solidFill>
                  <a:srgbClr val="998F8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© Western Cape Government 2012  |</a:t>
            </a:r>
            <a:endParaRPr lang="en-GB" sz="800">
              <a:solidFill>
                <a:srgbClr val="998F86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Picture 107" descr="C:\Users\Conny\Desktop\WCG\WCG - Logo\PNG\Logos blue\WCG - Logo - General - Blue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4638" y="6148388"/>
            <a:ext cx="1108075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5275" y="1196752"/>
            <a:ext cx="8597205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>
            <a:lvl1pPr algn="r" defTabSz="4572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3399"/>
                </a:solidFill>
                <a:latin typeface="Century Gothic" pitchFamily="34" charset="0"/>
                <a:cs typeface="+mn-cs"/>
              </a:defRPr>
            </a:lvl1pPr>
          </a:lstStyle>
          <a:p>
            <a:pPr>
              <a:defRPr/>
            </a:pPr>
            <a:fld id="{DCE38DE7-5275-43BD-AB10-E1E07EC9F12E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3"/>
            <p:custDataLst>
              <p:tags r:id="rId5"/>
            </p:custDataLst>
          </p:nvPr>
        </p:nvSpPr>
        <p:spPr/>
        <p:txBody>
          <a:bodyPr/>
          <a:lstStyle>
            <a:lvl1pPr algn="l" defTabSz="4572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rgbClr val="998F86"/>
                </a:solidFill>
                <a:latin typeface="Arial" panose="020B0604020202020204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ZA"/>
              <a:t>Stocktak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031314020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9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1769" name="think-cell Slide" r:id="rId7" imgW="270" imgH="270" progId="">
              <p:embed/>
            </p:oleObj>
          </a:graphicData>
        </a:graphic>
      </p:graphicFrame>
      <p:pic>
        <p:nvPicPr>
          <p:cNvPr id="7" name="Picture 8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739775"/>
            <a:ext cx="9144000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6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2060575" y="6467475"/>
            <a:ext cx="1944688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0" b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sz="800">
                <a:solidFill>
                  <a:srgbClr val="998F8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© Western Cape Government 2012  |</a:t>
            </a:r>
            <a:endParaRPr lang="en-GB" sz="800">
              <a:solidFill>
                <a:srgbClr val="998F86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Picture 107" descr="C:\Users\Conny\Desktop\WCG\WCG - Logo\PNG\Logos blue\WCG - Logo - General - Blue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4638" y="6148388"/>
            <a:ext cx="1108075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295275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831779" y="1196752"/>
            <a:ext cx="4060701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4"/>
            <p:custDataLst>
              <p:tags r:id="rId4"/>
            </p:custDataLst>
          </p:nvPr>
        </p:nvSpPr>
        <p:spPr/>
        <p:txBody>
          <a:bodyPr/>
          <a:lstStyle>
            <a:lvl1pPr algn="r" defTabSz="4572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3399"/>
                </a:solidFill>
                <a:latin typeface="Century Gothic" pitchFamily="34" charset="0"/>
                <a:cs typeface="+mn-cs"/>
              </a:defRPr>
            </a:lvl1pPr>
          </a:lstStyle>
          <a:p>
            <a:pPr>
              <a:defRPr/>
            </a:pPr>
            <a:fld id="{1B986CB9-CDB2-4749-BE50-9B02268DE939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15"/>
            <p:custDataLst>
              <p:tags r:id="rId5"/>
            </p:custDataLst>
          </p:nvPr>
        </p:nvSpPr>
        <p:spPr/>
        <p:txBody>
          <a:bodyPr/>
          <a:lstStyle>
            <a:lvl1pPr algn="l" defTabSz="4572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rgbClr val="998F86"/>
                </a:solidFill>
                <a:latin typeface="Arial" panose="020B0604020202020204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ZA"/>
              <a:t>Stocktak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529908227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9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2793" name="think-cell Slide" r:id="rId7" imgW="270" imgH="270" progId="">
              <p:embed/>
            </p:oleObj>
          </a:graphicData>
        </a:graphic>
      </p:graphicFrame>
      <p:pic>
        <p:nvPicPr>
          <p:cNvPr id="5" name="Picture 8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739775"/>
            <a:ext cx="9144000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6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2060575" y="6467475"/>
            <a:ext cx="1944688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0" b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sz="800">
                <a:solidFill>
                  <a:srgbClr val="998F8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© Western Cape Government 2012  |</a:t>
            </a:r>
            <a:endParaRPr lang="en-GB" sz="800">
              <a:solidFill>
                <a:srgbClr val="998F86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107" descr="C:\Users\Conny\Desktop\WCG\WCG - Logo\PNG\Logos blue\WCG - Logo - General - Blue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4638" y="6148388"/>
            <a:ext cx="1108075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1"/>
            <p:custDataLst>
              <p:tags r:id="rId4"/>
            </p:custDataLst>
          </p:nvPr>
        </p:nvSpPr>
        <p:spPr/>
        <p:txBody>
          <a:bodyPr/>
          <a:lstStyle>
            <a:lvl1pPr algn="r" defTabSz="4572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3399"/>
                </a:solidFill>
                <a:latin typeface="Century Gothic" pitchFamily="34" charset="0"/>
                <a:cs typeface="+mn-cs"/>
              </a:defRPr>
            </a:lvl1pPr>
          </a:lstStyle>
          <a:p>
            <a:pPr>
              <a:defRPr/>
            </a:pPr>
            <a:fld id="{EF14FEE4-6BF1-443B-8F55-EB2E89EA206A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12"/>
            <p:custDataLst>
              <p:tags r:id="rId5"/>
            </p:custDataLst>
          </p:nvPr>
        </p:nvSpPr>
        <p:spPr/>
        <p:txBody>
          <a:bodyPr/>
          <a:lstStyle>
            <a:lvl1pPr algn="l" defTabSz="4572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rgbClr val="998F86"/>
                </a:solidFill>
                <a:latin typeface="Arial" panose="020B0604020202020204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ZA"/>
              <a:t>Stocktak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620554309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9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3817" name="think-cell Slide" r:id="rId7" imgW="270" imgH="270" progId="">
              <p:embed/>
            </p:oleObj>
          </a:graphicData>
        </a:graphic>
      </p:graphicFrame>
      <p:pic>
        <p:nvPicPr>
          <p:cNvPr id="7" name="Picture 8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739775"/>
            <a:ext cx="9144000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6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2060575" y="6467475"/>
            <a:ext cx="1944688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0" b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sz="800">
                <a:solidFill>
                  <a:srgbClr val="998F8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© Western Cape Government 2012  |</a:t>
            </a:r>
            <a:endParaRPr lang="en-GB" sz="800">
              <a:solidFill>
                <a:srgbClr val="998F86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Picture 107" descr="C:\Users\Conny\Desktop\WCG\WCG - Logo\PNG\Logos blue\WCG - Logo - General - Blue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4638" y="6148388"/>
            <a:ext cx="1108075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7"/>
            <a:ext cx="8597205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5"/>
            <p:custDataLst>
              <p:tags r:id="rId4"/>
            </p:custDataLst>
          </p:nvPr>
        </p:nvSpPr>
        <p:spPr/>
        <p:txBody>
          <a:bodyPr/>
          <a:lstStyle>
            <a:lvl1pPr algn="r" defTabSz="4572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3399"/>
                </a:solidFill>
                <a:latin typeface="Century Gothic" pitchFamily="34" charset="0"/>
                <a:cs typeface="+mn-cs"/>
              </a:defRPr>
            </a:lvl1pPr>
          </a:lstStyle>
          <a:p>
            <a:pPr>
              <a:defRPr/>
            </a:pPr>
            <a:fld id="{F98CD5A7-08D1-410C-BFF1-B88E26276AA7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16"/>
            <p:custDataLst>
              <p:tags r:id="rId5"/>
            </p:custDataLst>
          </p:nvPr>
        </p:nvSpPr>
        <p:spPr/>
        <p:txBody>
          <a:bodyPr/>
          <a:lstStyle>
            <a:lvl1pPr algn="l" defTabSz="4572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rgbClr val="998F86"/>
                </a:solidFill>
                <a:latin typeface="Arial" panose="020B0604020202020204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ZA"/>
              <a:t>Stocktak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64565046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9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4841" name="think-cell Slide" r:id="rId7" imgW="270" imgH="270" progId="">
              <p:embed/>
            </p:oleObj>
          </a:graphicData>
        </a:graphic>
      </p:graphicFrame>
      <p:pic>
        <p:nvPicPr>
          <p:cNvPr id="8" name="Picture 8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739775"/>
            <a:ext cx="9144000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6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2060575" y="6467475"/>
            <a:ext cx="1944688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0" b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sz="800">
                <a:solidFill>
                  <a:srgbClr val="998F8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© Western Cape Government 2012  |</a:t>
            </a:r>
            <a:endParaRPr lang="en-GB" sz="800">
              <a:solidFill>
                <a:srgbClr val="998F86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Picture 107" descr="C:\Users\Conny\Desktop\WCG\WCG - Logo\PNG\Logos blue\WCG - Logo - General - Blue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4638" y="6148388"/>
            <a:ext cx="1108075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295275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831779" y="1412776"/>
            <a:ext cx="4060701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16"/>
            <p:custDataLst>
              <p:tags r:id="rId4"/>
            </p:custDataLst>
          </p:nvPr>
        </p:nvSpPr>
        <p:spPr/>
        <p:txBody>
          <a:bodyPr/>
          <a:lstStyle>
            <a:lvl1pPr algn="r" defTabSz="4572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3399"/>
                </a:solidFill>
                <a:latin typeface="Century Gothic" pitchFamily="34" charset="0"/>
                <a:cs typeface="+mn-cs"/>
              </a:defRPr>
            </a:lvl1pPr>
          </a:lstStyle>
          <a:p>
            <a:pPr>
              <a:defRPr/>
            </a:pPr>
            <a:fld id="{0983C472-B60D-4497-962A-DAA88AD527FE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17"/>
            <p:custDataLst>
              <p:tags r:id="rId5"/>
            </p:custDataLst>
          </p:nvPr>
        </p:nvSpPr>
        <p:spPr/>
        <p:txBody>
          <a:bodyPr/>
          <a:lstStyle>
            <a:lvl1pPr algn="l" defTabSz="4572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rgbClr val="998F86"/>
                </a:solidFill>
                <a:latin typeface="Arial" panose="020B0604020202020204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ZA"/>
              <a:t>Stocktak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371230662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9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5865" name="think-cell Slide" r:id="rId7" imgW="270" imgH="270" progId="">
              <p:embed/>
            </p:oleObj>
          </a:graphicData>
        </a:graphic>
      </p:graphicFrame>
      <p:pic>
        <p:nvPicPr>
          <p:cNvPr id="6" name="Picture 8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739775"/>
            <a:ext cx="9144000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Rectangle 6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2060575" y="6467475"/>
            <a:ext cx="1944688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0" b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sz="800">
                <a:solidFill>
                  <a:srgbClr val="998F8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© Western Cape Government 2012  |</a:t>
            </a:r>
            <a:endParaRPr lang="en-GB" sz="800">
              <a:solidFill>
                <a:srgbClr val="998F86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8" name="Picture 107" descr="C:\Users\Conny\Desktop\WCG\WCG - Logo\PNG\Logos blue\WCG - Logo - General - Blue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4638" y="6148388"/>
            <a:ext cx="1108075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295275" y="5681848"/>
            <a:ext cx="859720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4"/>
            <p:custDataLst>
              <p:tags r:id="rId4"/>
            </p:custDataLst>
          </p:nvPr>
        </p:nvSpPr>
        <p:spPr/>
        <p:txBody>
          <a:bodyPr/>
          <a:lstStyle>
            <a:lvl1pPr algn="r" defTabSz="4572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3399"/>
                </a:solidFill>
                <a:latin typeface="Century Gothic" pitchFamily="34" charset="0"/>
                <a:cs typeface="+mn-cs"/>
              </a:defRPr>
            </a:lvl1pPr>
          </a:lstStyle>
          <a:p>
            <a:pPr>
              <a:defRPr/>
            </a:pPr>
            <a:fld id="{CEB16690-48DB-4103-B05D-43540472A53C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5"/>
            <p:custDataLst>
              <p:tags r:id="rId5"/>
            </p:custDataLst>
          </p:nvPr>
        </p:nvSpPr>
        <p:spPr/>
        <p:txBody>
          <a:bodyPr/>
          <a:lstStyle>
            <a:lvl1pPr algn="l" defTabSz="4572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rgbClr val="998F86"/>
                </a:solidFill>
                <a:latin typeface="Arial" panose="020B0604020202020204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ZA"/>
              <a:t>Stocktak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70706362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7150" y="5516563"/>
            <a:ext cx="9086850" cy="17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107" descr="C:\Users\Conny\Desktop\WCG\WCG - Logo\PNG\Logos blue\WCG - Logo - General - Blue.png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4638" y="6148388"/>
            <a:ext cx="1108075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611188" y="2276872"/>
            <a:ext cx="8281291" cy="936625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6817891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9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6889" name="think-cell Slide" r:id="rId7" imgW="270" imgH="270" progId="">
              <p:embed/>
            </p:oleObj>
          </a:graphicData>
        </a:graphic>
      </p:graphicFrame>
      <p:pic>
        <p:nvPicPr>
          <p:cNvPr id="7" name="Picture 8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739775"/>
            <a:ext cx="9144000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6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2060575" y="6467475"/>
            <a:ext cx="1944688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0" b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sz="800">
                <a:solidFill>
                  <a:srgbClr val="998F8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© Western Cape Government 2012  |</a:t>
            </a:r>
            <a:endParaRPr lang="en-GB" sz="800">
              <a:solidFill>
                <a:srgbClr val="998F86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Picture 107" descr="C:\Users\Conny\Desktop\WCG\WCG - Logo\PNG\Logos blue\WCG - Logo - General - Blue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4638" y="6148388"/>
            <a:ext cx="1108075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323850" y="1412775"/>
            <a:ext cx="2908573" cy="4680049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448447" y="1412776"/>
            <a:ext cx="547260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6"/>
            <p:custDataLst>
              <p:tags r:id="rId4"/>
            </p:custDataLst>
          </p:nvPr>
        </p:nvSpPr>
        <p:spPr/>
        <p:txBody>
          <a:bodyPr/>
          <a:lstStyle>
            <a:lvl1pPr algn="r" defTabSz="4572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3399"/>
                </a:solidFill>
                <a:latin typeface="Century Gothic" pitchFamily="34" charset="0"/>
                <a:cs typeface="+mn-cs"/>
              </a:defRPr>
            </a:lvl1pPr>
          </a:lstStyle>
          <a:p>
            <a:pPr>
              <a:defRPr/>
            </a:pPr>
            <a:fld id="{81929F29-BF4D-4FD0-8CC8-B3520226634A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7"/>
            <p:custDataLst>
              <p:tags r:id="rId5"/>
            </p:custDataLst>
          </p:nvPr>
        </p:nvSpPr>
        <p:spPr/>
        <p:txBody>
          <a:bodyPr/>
          <a:lstStyle>
            <a:lvl1pPr algn="l" defTabSz="4572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rgbClr val="998F86"/>
                </a:solidFill>
                <a:latin typeface="Arial" panose="020B0604020202020204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ZA"/>
              <a:t>Stocktak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666074242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9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7913" name="think-cell Slide" r:id="rId7" imgW="270" imgH="270" progId="">
              <p:embed/>
            </p:oleObj>
          </a:graphicData>
        </a:graphic>
      </p:graphicFrame>
      <p:pic>
        <p:nvPicPr>
          <p:cNvPr id="7" name="Picture 8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739775"/>
            <a:ext cx="9144000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Rectangle 6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2060575" y="6467475"/>
            <a:ext cx="1944688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0" b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sz="800">
                <a:solidFill>
                  <a:srgbClr val="998F8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© Western Cape Government 2012  |</a:t>
            </a:r>
            <a:endParaRPr lang="en-GB" sz="800">
              <a:solidFill>
                <a:srgbClr val="998F86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Picture 107" descr="C:\Users\Conny\Desktop\WCG\WCG - Logo\PNG\Logos blue\WCG - Logo - General - Blue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4638" y="6148388"/>
            <a:ext cx="1108075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6516216" y="1412776"/>
            <a:ext cx="2404517" cy="4680048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323850" y="1412777"/>
            <a:ext cx="6004917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Slide Number Placeholder 5"/>
          <p:cNvSpPr>
            <a:spLocks noGrp="1"/>
          </p:cNvSpPr>
          <p:nvPr>
            <p:ph type="sldNum" sz="quarter" idx="16"/>
            <p:custDataLst>
              <p:tags r:id="rId4"/>
            </p:custDataLst>
          </p:nvPr>
        </p:nvSpPr>
        <p:spPr/>
        <p:txBody>
          <a:bodyPr/>
          <a:lstStyle>
            <a:lvl1pPr algn="r" defTabSz="4572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3399"/>
                </a:solidFill>
                <a:latin typeface="Century Gothic" pitchFamily="34" charset="0"/>
                <a:cs typeface="+mn-cs"/>
              </a:defRPr>
            </a:lvl1pPr>
          </a:lstStyle>
          <a:p>
            <a:pPr>
              <a:defRPr/>
            </a:pPr>
            <a:fld id="{DDE4422B-445B-46B9-9FC7-C51020DD36B1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7"/>
            <p:custDataLst>
              <p:tags r:id="rId5"/>
            </p:custDataLst>
          </p:nvPr>
        </p:nvSpPr>
        <p:spPr/>
        <p:txBody>
          <a:bodyPr/>
          <a:lstStyle>
            <a:lvl1pPr algn="l" defTabSz="4572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rgbClr val="998F86"/>
                </a:solidFill>
                <a:latin typeface="Arial" panose="020B0604020202020204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ZA"/>
              <a:t>Stocktak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8769156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/>
              <a:t>Game Changer Presentation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775381468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9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8937" name="think-cell Slide" r:id="rId7" imgW="270" imgH="270" progId="">
              <p:embed/>
            </p:oleObj>
          </a:graphicData>
        </a:graphic>
      </p:graphicFrame>
      <p:pic>
        <p:nvPicPr>
          <p:cNvPr id="8" name="Picture 8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739775"/>
            <a:ext cx="9144000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6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2060575" y="6467475"/>
            <a:ext cx="1944688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0" b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sz="800">
                <a:solidFill>
                  <a:srgbClr val="998F8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© Western Cape Government 2012  |</a:t>
            </a:r>
            <a:endParaRPr lang="en-GB" sz="800">
              <a:solidFill>
                <a:srgbClr val="998F86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Picture 107" descr="C:\Users\Conny\Desktop\WCG\WCG - Logo\PNG\Logos blue\WCG - Logo - General - Blue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4638" y="6148388"/>
            <a:ext cx="1108075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290287" y="1412776"/>
            <a:ext cx="3921674" cy="1872208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4999381" y="1412776"/>
            <a:ext cx="3921674" cy="1872208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3532181"/>
            <a:ext cx="859720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7"/>
            <p:custDataLst>
              <p:tags r:id="rId4"/>
            </p:custDataLst>
          </p:nvPr>
        </p:nvSpPr>
        <p:spPr/>
        <p:txBody>
          <a:bodyPr/>
          <a:lstStyle>
            <a:lvl1pPr algn="r" defTabSz="4572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3399"/>
                </a:solidFill>
                <a:latin typeface="Century Gothic" pitchFamily="34" charset="0"/>
                <a:cs typeface="+mn-cs"/>
              </a:defRPr>
            </a:lvl1pPr>
          </a:lstStyle>
          <a:p>
            <a:pPr>
              <a:defRPr/>
            </a:pPr>
            <a:fld id="{76C7CD1C-D6F3-468B-BB96-A5F22789F1A3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18"/>
            <p:custDataLst>
              <p:tags r:id="rId5"/>
            </p:custDataLst>
          </p:nvPr>
        </p:nvSpPr>
        <p:spPr/>
        <p:txBody>
          <a:bodyPr/>
          <a:lstStyle>
            <a:lvl1pPr algn="l" defTabSz="4572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rgbClr val="998F86"/>
                </a:solidFill>
                <a:latin typeface="Arial" panose="020B0604020202020204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ZA"/>
              <a:t>Stocktak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098387381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9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39961" name="think-cell Slide" r:id="rId7" imgW="270" imgH="270" progId="">
              <p:embed/>
            </p:oleObj>
          </a:graphicData>
        </a:graphic>
      </p:graphicFrame>
      <p:pic>
        <p:nvPicPr>
          <p:cNvPr id="8" name="Picture 8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739775"/>
            <a:ext cx="9144000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6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2060575" y="6467475"/>
            <a:ext cx="1944688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0" b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sz="800">
                <a:solidFill>
                  <a:srgbClr val="998F8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© Western Cape Government 2012  |</a:t>
            </a:r>
            <a:endParaRPr lang="en-GB" sz="800">
              <a:solidFill>
                <a:srgbClr val="998F86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1" name="Picture 107" descr="C:\Users\Conny\Desktop\WCG\WCG - Logo\PNG\Logos blue\WCG - Logo - General - Blue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4638" y="6148388"/>
            <a:ext cx="1108075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290287" y="3645024"/>
            <a:ext cx="3921674" cy="2304256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4999381" y="3645024"/>
            <a:ext cx="3921674" cy="2304256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17"/>
            <p:custDataLst>
              <p:tags r:id="rId4"/>
            </p:custDataLst>
          </p:nvPr>
        </p:nvSpPr>
        <p:spPr/>
        <p:txBody>
          <a:bodyPr/>
          <a:lstStyle>
            <a:lvl1pPr algn="r" defTabSz="4572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3399"/>
                </a:solidFill>
                <a:latin typeface="Century Gothic" pitchFamily="34" charset="0"/>
                <a:cs typeface="+mn-cs"/>
              </a:defRPr>
            </a:lvl1pPr>
          </a:lstStyle>
          <a:p>
            <a:pPr>
              <a:defRPr/>
            </a:pPr>
            <a:fld id="{8D6BB0E2-B4A7-4151-929A-8BF438C31881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18"/>
            <p:custDataLst>
              <p:tags r:id="rId5"/>
            </p:custDataLst>
          </p:nvPr>
        </p:nvSpPr>
        <p:spPr/>
        <p:txBody>
          <a:bodyPr/>
          <a:lstStyle>
            <a:lvl1pPr algn="l" defTabSz="4572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rgbClr val="998F86"/>
                </a:solidFill>
                <a:latin typeface="Arial" panose="020B0604020202020204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ZA"/>
              <a:t>Stocktak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808956800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9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0985" name="think-cell Slide" r:id="rId7" imgW="270" imgH="270" progId="">
              <p:embed/>
            </p:oleObj>
          </a:graphicData>
        </a:graphic>
      </p:graphicFrame>
      <p:pic>
        <p:nvPicPr>
          <p:cNvPr id="9" name="Picture 10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739775"/>
            <a:ext cx="9144000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6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2060575" y="6467475"/>
            <a:ext cx="1944688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0" b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sz="800">
                <a:solidFill>
                  <a:srgbClr val="998F8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© Western Cape Government 2012  |</a:t>
            </a:r>
            <a:endParaRPr lang="en-GB" sz="800">
              <a:solidFill>
                <a:srgbClr val="998F86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Picture 107" descr="C:\Users\Conny\Desktop\WCG\WCG - Logo\PNG\Logos blue\WCG - Logo - General - Blue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4638" y="6148388"/>
            <a:ext cx="1108075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290287" y="3645024"/>
            <a:ext cx="2625529" cy="2304256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3292907" y="3645024"/>
            <a:ext cx="2625529" cy="2304256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6295526" y="3645024"/>
            <a:ext cx="2625529" cy="2304256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6"/>
            <a:ext cx="8597205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18"/>
            <p:custDataLst>
              <p:tags r:id="rId4"/>
            </p:custDataLst>
          </p:nvPr>
        </p:nvSpPr>
        <p:spPr/>
        <p:txBody>
          <a:bodyPr/>
          <a:lstStyle>
            <a:lvl1pPr algn="r" defTabSz="4572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3399"/>
                </a:solidFill>
                <a:latin typeface="Century Gothic" pitchFamily="34" charset="0"/>
                <a:cs typeface="+mn-cs"/>
              </a:defRPr>
            </a:lvl1pPr>
          </a:lstStyle>
          <a:p>
            <a:pPr>
              <a:defRPr/>
            </a:pPr>
            <a:fld id="{A0885707-4A08-4518-9365-DD5073E0F689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19"/>
            <p:custDataLst>
              <p:tags r:id="rId5"/>
            </p:custDataLst>
          </p:nvPr>
        </p:nvSpPr>
        <p:spPr/>
        <p:txBody>
          <a:bodyPr/>
          <a:lstStyle>
            <a:lvl1pPr algn="l" defTabSz="4572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rgbClr val="998F86"/>
                </a:solidFill>
                <a:latin typeface="Arial" panose="020B0604020202020204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ZA"/>
              <a:t>Stocktak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29431279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9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2009" name="think-cell Slide" r:id="rId7" imgW="270" imgH="270" progId="">
              <p:embed/>
            </p:oleObj>
          </a:graphicData>
        </a:graphic>
      </p:graphicFrame>
      <p:pic>
        <p:nvPicPr>
          <p:cNvPr id="9" name="Picture 10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739775"/>
            <a:ext cx="9144000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6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2060575" y="6467475"/>
            <a:ext cx="1944688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0" b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sz="800">
                <a:solidFill>
                  <a:srgbClr val="998F8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© Western Cape Government 2012  |</a:t>
            </a:r>
            <a:endParaRPr lang="en-GB" sz="800">
              <a:solidFill>
                <a:srgbClr val="998F86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Picture 107" descr="C:\Users\Conny\Desktop\WCG\WCG - Logo\PNG\Logos blue\WCG - Logo - General - Blue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4638" y="6148388"/>
            <a:ext cx="1108075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290287" y="1412776"/>
            <a:ext cx="2625529" cy="2160240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3292907" y="1412776"/>
            <a:ext cx="2625529" cy="2160240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6295526" y="1412776"/>
            <a:ext cx="2625529" cy="2160240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3703287"/>
            <a:ext cx="8597205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18"/>
            <p:custDataLst>
              <p:tags r:id="rId4"/>
            </p:custDataLst>
          </p:nvPr>
        </p:nvSpPr>
        <p:spPr/>
        <p:txBody>
          <a:bodyPr/>
          <a:lstStyle>
            <a:lvl1pPr algn="r" defTabSz="4572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3399"/>
                </a:solidFill>
                <a:latin typeface="Century Gothic" pitchFamily="34" charset="0"/>
                <a:cs typeface="+mn-cs"/>
              </a:defRPr>
            </a:lvl1pPr>
          </a:lstStyle>
          <a:p>
            <a:pPr>
              <a:defRPr/>
            </a:pPr>
            <a:fld id="{6C7DF009-C781-483D-8EE1-AE51CBE3E881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19"/>
            <p:custDataLst>
              <p:tags r:id="rId5"/>
            </p:custDataLst>
          </p:nvPr>
        </p:nvSpPr>
        <p:spPr/>
        <p:txBody>
          <a:bodyPr/>
          <a:lstStyle>
            <a:lvl1pPr algn="l" defTabSz="4572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rgbClr val="998F86"/>
                </a:solidFill>
                <a:latin typeface="Arial" panose="020B0604020202020204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ZA"/>
              <a:t>Stocktak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354031174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9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3033" name="think-cell Slide" r:id="rId7" imgW="270" imgH="270" progId="">
              <p:embed/>
            </p:oleObj>
          </a:graphicData>
        </a:graphic>
      </p:graphicFrame>
      <p:pic>
        <p:nvPicPr>
          <p:cNvPr id="9" name="Picture 10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739775"/>
            <a:ext cx="9144000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Rectangle 6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2060575" y="6467475"/>
            <a:ext cx="1944688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0" b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sz="800">
                <a:solidFill>
                  <a:srgbClr val="998F8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© Western Cape Government 2012  |</a:t>
            </a:r>
            <a:endParaRPr lang="en-GB" sz="800">
              <a:solidFill>
                <a:srgbClr val="998F86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Picture 107" descr="C:\Users\Conny\Desktop\WCG\WCG - Logo\PNG\Logos blue\WCG - Logo - General - Blue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4638" y="6148388"/>
            <a:ext cx="1108075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323850" y="1412776"/>
            <a:ext cx="2908573" cy="1512168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323850" y="2975180"/>
            <a:ext cx="2908573" cy="1512168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323850" y="4537584"/>
            <a:ext cx="2908573" cy="1541098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448447" y="1412776"/>
            <a:ext cx="5472608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18"/>
            <p:custDataLst>
              <p:tags r:id="rId4"/>
            </p:custDataLst>
          </p:nvPr>
        </p:nvSpPr>
        <p:spPr/>
        <p:txBody>
          <a:bodyPr/>
          <a:lstStyle>
            <a:lvl1pPr algn="r" defTabSz="4572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3399"/>
                </a:solidFill>
                <a:latin typeface="Century Gothic" pitchFamily="34" charset="0"/>
                <a:cs typeface="+mn-cs"/>
              </a:defRPr>
            </a:lvl1pPr>
          </a:lstStyle>
          <a:p>
            <a:pPr>
              <a:defRPr/>
            </a:pPr>
            <a:fld id="{43F07E8B-587F-4D06-AE8E-C669922C8921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14" name="Footer Placeholder 4"/>
          <p:cNvSpPr>
            <a:spLocks noGrp="1"/>
          </p:cNvSpPr>
          <p:nvPr>
            <p:ph type="ftr" sz="quarter" idx="19"/>
            <p:custDataLst>
              <p:tags r:id="rId5"/>
            </p:custDataLst>
          </p:nvPr>
        </p:nvSpPr>
        <p:spPr/>
        <p:txBody>
          <a:bodyPr/>
          <a:lstStyle>
            <a:lvl1pPr algn="l" defTabSz="4572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rgbClr val="998F86"/>
                </a:solidFill>
                <a:latin typeface="Arial" panose="020B0604020202020204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ZA"/>
              <a:t>Stocktak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1685521303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9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4057" name="think-cell Slide" r:id="rId7" imgW="270" imgH="270" progId="">
              <p:embed/>
            </p:oleObj>
          </a:graphicData>
        </a:graphic>
      </p:graphicFrame>
      <p:pic>
        <p:nvPicPr>
          <p:cNvPr id="9" name="Picture 10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739775"/>
            <a:ext cx="9144000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6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2060575" y="6467475"/>
            <a:ext cx="1944688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0" b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sz="800">
                <a:solidFill>
                  <a:srgbClr val="998F8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© Western Cape Government 2012  |</a:t>
            </a:r>
            <a:endParaRPr lang="en-GB" sz="800">
              <a:solidFill>
                <a:srgbClr val="998F86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3" name="Picture 107" descr="C:\Users\Conny\Desktop\WCG\WCG - Logo\PNG\Logos blue\WCG - Logo - General - Blue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4638" y="6148388"/>
            <a:ext cx="1108075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95275" y="180976"/>
            <a:ext cx="859720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6012482" y="1412776"/>
            <a:ext cx="2908573" cy="1512168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6012482" y="2976533"/>
            <a:ext cx="2908573" cy="1512168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6012482" y="4540289"/>
            <a:ext cx="2908573" cy="1548783"/>
          </a:xfrm>
          <a:prstGeom prst="round2DiagRect">
            <a:avLst/>
          </a:prstGeom>
        </p:spPr>
        <p:txBody>
          <a:bodyPr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US" noProof="0"/>
              <a:t>Click icon to add picture</a:t>
            </a:r>
            <a:endParaRPr lang="en-GB" noProof="0" dirty="0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323850" y="1412777"/>
            <a:ext cx="5553983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295275" y="1039978"/>
            <a:ext cx="8597205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18"/>
            <p:custDataLst>
              <p:tags r:id="rId4"/>
            </p:custDataLst>
          </p:nvPr>
        </p:nvSpPr>
        <p:spPr/>
        <p:txBody>
          <a:bodyPr/>
          <a:lstStyle>
            <a:lvl1pPr algn="r" defTabSz="457200" eaLnBrk="0" fontAlgn="base" hangingPunct="0">
              <a:spcBef>
                <a:spcPct val="0"/>
              </a:spcBef>
              <a:spcAft>
                <a:spcPct val="0"/>
              </a:spcAft>
              <a:defRPr sz="900">
                <a:solidFill>
                  <a:srgbClr val="003399"/>
                </a:solidFill>
                <a:latin typeface="Century Gothic" pitchFamily="34" charset="0"/>
                <a:cs typeface="+mn-cs"/>
              </a:defRPr>
            </a:lvl1pPr>
          </a:lstStyle>
          <a:p>
            <a:pPr>
              <a:defRPr/>
            </a:pPr>
            <a:fld id="{3106B767-3E50-49DE-BDA1-08C84E6F6972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15" name="Footer Placeholder 4"/>
          <p:cNvSpPr>
            <a:spLocks noGrp="1"/>
          </p:cNvSpPr>
          <p:nvPr>
            <p:ph type="ftr" sz="quarter" idx="19"/>
            <p:custDataLst>
              <p:tags r:id="rId5"/>
            </p:custDataLst>
          </p:nvPr>
        </p:nvSpPr>
        <p:spPr/>
        <p:txBody>
          <a:bodyPr/>
          <a:lstStyle>
            <a:lvl1pPr algn="l" defTabSz="457200" eaLnBrk="0" fontAlgn="base" hangingPunct="0">
              <a:spcBef>
                <a:spcPct val="0"/>
              </a:spcBef>
              <a:spcAft>
                <a:spcPct val="0"/>
              </a:spcAft>
              <a:defRPr sz="800">
                <a:solidFill>
                  <a:srgbClr val="998F86"/>
                </a:solidFill>
                <a:latin typeface="Arial" panose="020B0604020202020204" pitchFamily="34" charset="0"/>
                <a:cs typeface="+mn-cs"/>
              </a:defRPr>
            </a:lvl1pPr>
          </a:lstStyle>
          <a:p>
            <a:pPr>
              <a:defRPr/>
            </a:pPr>
            <a:r>
              <a:rPr lang="en-ZA"/>
              <a:t>Stocktak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4060896924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 userDrawn="1"/>
        </p:nvGrpSpPr>
        <p:grpSpPr>
          <a:xfrm>
            <a:off x="2185076" y="1790072"/>
            <a:ext cx="4752528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9" name="Rectangle 8"/>
            <p:cNvSpPr/>
            <p:nvPr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14400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>
                <a:solidFill>
                  <a:prstClr val="white"/>
                </a:solidFill>
              </a:endParaRPr>
            </a:p>
          </p:txBody>
        </p:sp>
        <p:pic>
          <p:nvPicPr>
            <p:cNvPr id="10" name="Picture 9"/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1" name="Rectangle 14"/>
          <p:cNvSpPr>
            <a:spLocks noChangeArrowheads="1"/>
          </p:cNvSpPr>
          <p:nvPr userDrawn="1"/>
        </p:nvSpPr>
        <p:spPr bwMode="auto">
          <a:xfrm>
            <a:off x="2835275" y="3497263"/>
            <a:ext cx="401638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72000" rIns="36000" bIns="7200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spcBef>
                <a:spcPts val="300"/>
              </a:spcBef>
              <a:buFont typeface="Arial" panose="020B0604020202020204" pitchFamily="34" charset="0"/>
              <a:buNone/>
              <a:defRPr/>
            </a:pPr>
            <a:r>
              <a:rPr lang="en-GB" sz="1100" b="1">
                <a:solidFill>
                  <a:srgbClr val="003399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Tel:</a:t>
            </a:r>
          </a:p>
        </p:txBody>
      </p:sp>
      <p:sp>
        <p:nvSpPr>
          <p:cNvPr id="15" name="Rectangle 15"/>
          <p:cNvSpPr>
            <a:spLocks noChangeArrowheads="1"/>
          </p:cNvSpPr>
          <p:nvPr userDrawn="1"/>
        </p:nvSpPr>
        <p:spPr bwMode="auto">
          <a:xfrm>
            <a:off x="4779963" y="3497263"/>
            <a:ext cx="403225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72000" rIns="36000" bIns="7200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spcBef>
                <a:spcPts val="300"/>
              </a:spcBef>
              <a:buFont typeface="Arial" panose="020B0604020202020204" pitchFamily="34" charset="0"/>
              <a:buNone/>
              <a:defRPr/>
            </a:pPr>
            <a:r>
              <a:rPr lang="en-GB" sz="1100" b="1">
                <a:solidFill>
                  <a:srgbClr val="003399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Fax:</a:t>
            </a:r>
          </a:p>
        </p:txBody>
      </p:sp>
      <p:sp>
        <p:nvSpPr>
          <p:cNvPr id="17" name="Rectangle 16"/>
          <p:cNvSpPr>
            <a:spLocks noChangeArrowheads="1"/>
          </p:cNvSpPr>
          <p:nvPr userDrawn="1"/>
        </p:nvSpPr>
        <p:spPr bwMode="auto">
          <a:xfrm>
            <a:off x="2835275" y="4043363"/>
            <a:ext cx="3733800" cy="261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72000" rIns="36000" bIns="72000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spcBef>
                <a:spcPts val="300"/>
              </a:spcBef>
              <a:buFont typeface="Arial" panose="020B0604020202020204" pitchFamily="34" charset="0"/>
              <a:buNone/>
              <a:defRPr/>
            </a:pPr>
            <a:r>
              <a:rPr lang="en-GB" sz="1100" b="1">
                <a:solidFill>
                  <a:srgbClr val="003399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www.westerncape.gov.za</a:t>
            </a:r>
          </a:p>
        </p:txBody>
      </p:sp>
      <p:pic>
        <p:nvPicPr>
          <p:cNvPr id="19" name="Picture 3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135188" y="1735138"/>
            <a:ext cx="2843212" cy="10826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0" name="Rectangle 18"/>
          <p:cNvSpPr>
            <a:spLocks noChangeArrowheads="1"/>
          </p:cNvSpPr>
          <p:nvPr userDrawn="1"/>
        </p:nvSpPr>
        <p:spPr bwMode="auto">
          <a:xfrm>
            <a:off x="295275" y="565150"/>
            <a:ext cx="2405063" cy="585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sz="3200">
                <a:solidFill>
                  <a:srgbClr val="FFFFFF"/>
                </a:solidFill>
                <a:latin typeface="Century Gothic" panose="020B0502020202020204" pitchFamily="34" charset="0"/>
              </a:rPr>
              <a:t>Contact Us</a:t>
            </a:r>
            <a:endParaRPr lang="en-GB" sz="2400">
              <a:solidFill>
                <a:srgbClr val="FFFFFF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834997" y="2696461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2834997" y="2963910"/>
            <a:ext cx="389724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3184680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/>
          </p:nvPr>
        </p:nvSpPr>
        <p:spPr>
          <a:xfrm>
            <a:off x="5130119" y="3494035"/>
            <a:ext cx="1440160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/>
          </p:nvPr>
        </p:nvSpPr>
        <p:spPr>
          <a:xfrm>
            <a:off x="2834997" y="3768568"/>
            <a:ext cx="3734059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2834996" y="4333520"/>
            <a:ext cx="3349330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087731599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329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 userDrawn="1"/>
        </p:nvSpPr>
        <p:spPr>
          <a:xfrm>
            <a:off x="1763713" y="3860800"/>
            <a:ext cx="7200900" cy="1084263"/>
          </a:xfrm>
          <a:prstGeom prst="rect">
            <a:avLst/>
          </a:prstGeom>
        </p:spPr>
        <p:txBody>
          <a:bodyPr wrap="none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fontAlgn="auto">
              <a:spcAft>
                <a:spcPts val="2400"/>
              </a:spcAft>
              <a:defRPr/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3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3224213"/>
            <a:ext cx="9144000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3374867906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0" y="0"/>
            <a:ext cx="0" cy="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395D267-3A22-489D-AEF0-8D2167083701}" type="datetimeFigureOut">
              <a:rPr lang="en-ZA"/>
              <a:pPr>
                <a:defRPr/>
              </a:pPr>
              <a:t>2019/08/08</a:t>
            </a:fld>
            <a:endParaRPr lang="en-ZA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ZA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FD8F737-B16C-4B21-B525-212C71D7BC0A}" type="slidenum">
              <a:rPr lang="en-ZA"/>
              <a:pPr>
                <a:defRPr/>
              </a:pPr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841555425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2586038"/>
            <a:ext cx="9144000" cy="493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5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54013" y="382588"/>
            <a:ext cx="5400675" cy="15763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7544" y="3429000"/>
            <a:ext cx="8208912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tIns="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67544" y="4532528"/>
            <a:ext cx="8208912" cy="508552"/>
          </a:xfrm>
        </p:spPr>
        <p:txBody>
          <a:bodyPr tIns="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3635548" y="5398045"/>
            <a:ext cx="1584176" cy="365125"/>
          </a:xfrm>
        </p:spPr>
        <p:txBody>
          <a:bodyPr>
            <a:normAutofit/>
          </a:bodyPr>
          <a:lstStyle>
            <a:lvl1pPr algn="r"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/>
          </p:nvPr>
        </p:nvSpPr>
        <p:spPr>
          <a:xfrm>
            <a:off x="5220072" y="5398045"/>
            <a:ext cx="1944216" cy="365125"/>
          </a:xfrm>
        </p:spPr>
        <p:txBody>
          <a:bodyPr>
            <a:normAutofit/>
          </a:bodyPr>
          <a:lstStyle>
            <a:lvl1pPr algn="r">
              <a:defRPr sz="12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Date Placeholder 11">
            <a:extLst/>
          </p:cNvPr>
          <p:cNvSpPr>
            <a:spLocks noGrp="1"/>
          </p:cNvSpPr>
          <p:nvPr>
            <p:ph type="dt" sz="half" idx="12"/>
          </p:nvPr>
        </p:nvSpPr>
        <p:spPr>
          <a:xfrm>
            <a:off x="7164388" y="5397500"/>
            <a:ext cx="15113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defTabSz="914400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prstClr val="white"/>
                </a:solidFill>
                <a:latin typeface="Century Gothic"/>
                <a:cs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22388985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slideLayout" Target="../slideLayouts/slideLayout18.xml"/><Relationship Id="rId18" Type="http://schemas.openxmlformats.org/officeDocument/2006/relationships/slideLayout" Target="../slideLayouts/slideLayout23.xml"/><Relationship Id="rId26" Type="http://schemas.openxmlformats.org/officeDocument/2006/relationships/vmlDrawing" Target="../drawings/vmlDrawing1.vml"/><Relationship Id="rId3" Type="http://schemas.openxmlformats.org/officeDocument/2006/relationships/slideLayout" Target="../slideLayouts/slideLayout8.xml"/><Relationship Id="rId21" Type="http://schemas.openxmlformats.org/officeDocument/2006/relationships/slideLayout" Target="../slideLayouts/slideLayout26.xml"/><Relationship Id="rId34" Type="http://schemas.openxmlformats.org/officeDocument/2006/relationships/image" Target="../media/image5.jpeg"/><Relationship Id="rId7" Type="http://schemas.openxmlformats.org/officeDocument/2006/relationships/slideLayout" Target="../slideLayouts/slideLayout12.xml"/><Relationship Id="rId12" Type="http://schemas.openxmlformats.org/officeDocument/2006/relationships/slideLayout" Target="../slideLayouts/slideLayout17.xml"/><Relationship Id="rId17" Type="http://schemas.openxmlformats.org/officeDocument/2006/relationships/slideLayout" Target="../slideLayouts/slideLayout22.xml"/><Relationship Id="rId25" Type="http://schemas.openxmlformats.org/officeDocument/2006/relationships/theme" Target="../theme/theme2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7.xml"/><Relationship Id="rId16" Type="http://schemas.openxmlformats.org/officeDocument/2006/relationships/slideLayout" Target="../slideLayouts/slideLayout21.xml"/><Relationship Id="rId20" Type="http://schemas.openxmlformats.org/officeDocument/2006/relationships/slideLayout" Target="../slideLayouts/slideLayout25.xml"/><Relationship Id="rId29" Type="http://schemas.openxmlformats.org/officeDocument/2006/relationships/tags" Target="../tags/tag3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24" Type="http://schemas.openxmlformats.org/officeDocument/2006/relationships/slideLayout" Target="../slideLayouts/slideLayout29.xml"/><Relationship Id="rId32" Type="http://schemas.openxmlformats.org/officeDocument/2006/relationships/tags" Target="../tags/tag6.xml"/><Relationship Id="rId5" Type="http://schemas.openxmlformats.org/officeDocument/2006/relationships/slideLayout" Target="../slideLayouts/slideLayout10.xml"/><Relationship Id="rId15" Type="http://schemas.openxmlformats.org/officeDocument/2006/relationships/slideLayout" Target="../slideLayouts/slideLayout20.xml"/><Relationship Id="rId23" Type="http://schemas.openxmlformats.org/officeDocument/2006/relationships/slideLayout" Target="../slideLayouts/slideLayout28.xml"/><Relationship Id="rId28" Type="http://schemas.openxmlformats.org/officeDocument/2006/relationships/tags" Target="../tags/tag2.xml"/><Relationship Id="rId36" Type="http://schemas.openxmlformats.org/officeDocument/2006/relationships/image" Target="../media/image7.png"/><Relationship Id="rId10" Type="http://schemas.openxmlformats.org/officeDocument/2006/relationships/slideLayout" Target="../slideLayouts/slideLayout15.xml"/><Relationship Id="rId19" Type="http://schemas.openxmlformats.org/officeDocument/2006/relationships/slideLayout" Target="../slideLayouts/slideLayout24.xml"/><Relationship Id="rId31" Type="http://schemas.openxmlformats.org/officeDocument/2006/relationships/tags" Target="../tags/tag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Relationship Id="rId14" Type="http://schemas.openxmlformats.org/officeDocument/2006/relationships/slideLayout" Target="../slideLayouts/slideLayout19.xml"/><Relationship Id="rId22" Type="http://schemas.openxmlformats.org/officeDocument/2006/relationships/slideLayout" Target="../slideLayouts/slideLayout27.xml"/><Relationship Id="rId27" Type="http://schemas.openxmlformats.org/officeDocument/2006/relationships/tags" Target="../tags/tag1.xml"/><Relationship Id="rId30" Type="http://schemas.openxmlformats.org/officeDocument/2006/relationships/tags" Target="../tags/tag4.xml"/><Relationship Id="rId35" Type="http://schemas.openxmlformats.org/officeDocument/2006/relationships/image" Target="../media/image6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.xml"/><Relationship Id="rId13" Type="http://schemas.openxmlformats.org/officeDocument/2006/relationships/slideLayout" Target="../slideLayouts/slideLayout42.xml"/><Relationship Id="rId18" Type="http://schemas.openxmlformats.org/officeDocument/2006/relationships/slideLayout" Target="../slideLayouts/slideLayout47.xml"/><Relationship Id="rId26" Type="http://schemas.openxmlformats.org/officeDocument/2006/relationships/theme" Target="../theme/theme3.xml"/><Relationship Id="rId3" Type="http://schemas.openxmlformats.org/officeDocument/2006/relationships/slideLayout" Target="../slideLayouts/slideLayout32.xml"/><Relationship Id="rId21" Type="http://schemas.openxmlformats.org/officeDocument/2006/relationships/slideLayout" Target="../slideLayouts/slideLayout50.xml"/><Relationship Id="rId34" Type="http://schemas.openxmlformats.org/officeDocument/2006/relationships/oleObject" Target="../embeddings/oleObject2.bin"/><Relationship Id="rId7" Type="http://schemas.openxmlformats.org/officeDocument/2006/relationships/slideLayout" Target="../slideLayouts/slideLayout36.xml"/><Relationship Id="rId12" Type="http://schemas.openxmlformats.org/officeDocument/2006/relationships/slideLayout" Target="../slideLayouts/slideLayout41.xml"/><Relationship Id="rId17" Type="http://schemas.openxmlformats.org/officeDocument/2006/relationships/slideLayout" Target="../slideLayouts/slideLayout46.xml"/><Relationship Id="rId25" Type="http://schemas.openxmlformats.org/officeDocument/2006/relationships/slideLayout" Target="../slideLayouts/slideLayout54.xml"/><Relationship Id="rId33" Type="http://schemas.openxmlformats.org/officeDocument/2006/relationships/tags" Target="../tags/tag53.xml"/><Relationship Id="rId2" Type="http://schemas.openxmlformats.org/officeDocument/2006/relationships/slideLayout" Target="../slideLayouts/slideLayout31.xml"/><Relationship Id="rId16" Type="http://schemas.openxmlformats.org/officeDocument/2006/relationships/slideLayout" Target="../slideLayouts/slideLayout45.xml"/><Relationship Id="rId20" Type="http://schemas.openxmlformats.org/officeDocument/2006/relationships/slideLayout" Target="../slideLayouts/slideLayout49.xml"/><Relationship Id="rId29" Type="http://schemas.openxmlformats.org/officeDocument/2006/relationships/tags" Target="../tags/tag49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slideLayout" Target="../slideLayouts/slideLayout40.xml"/><Relationship Id="rId24" Type="http://schemas.openxmlformats.org/officeDocument/2006/relationships/slideLayout" Target="../slideLayouts/slideLayout53.xml"/><Relationship Id="rId32" Type="http://schemas.openxmlformats.org/officeDocument/2006/relationships/tags" Target="../tags/tag52.xml"/><Relationship Id="rId37" Type="http://schemas.openxmlformats.org/officeDocument/2006/relationships/image" Target="../media/image7.png"/><Relationship Id="rId5" Type="http://schemas.openxmlformats.org/officeDocument/2006/relationships/slideLayout" Target="../slideLayouts/slideLayout34.xml"/><Relationship Id="rId15" Type="http://schemas.openxmlformats.org/officeDocument/2006/relationships/slideLayout" Target="../slideLayouts/slideLayout44.xml"/><Relationship Id="rId23" Type="http://schemas.openxmlformats.org/officeDocument/2006/relationships/slideLayout" Target="../slideLayouts/slideLayout52.xml"/><Relationship Id="rId28" Type="http://schemas.openxmlformats.org/officeDocument/2006/relationships/tags" Target="../tags/tag48.xml"/><Relationship Id="rId36" Type="http://schemas.openxmlformats.org/officeDocument/2006/relationships/image" Target="../media/image6.png"/><Relationship Id="rId10" Type="http://schemas.openxmlformats.org/officeDocument/2006/relationships/slideLayout" Target="../slideLayouts/slideLayout39.xml"/><Relationship Id="rId19" Type="http://schemas.openxmlformats.org/officeDocument/2006/relationships/slideLayout" Target="../slideLayouts/slideLayout48.xml"/><Relationship Id="rId31" Type="http://schemas.openxmlformats.org/officeDocument/2006/relationships/tags" Target="../tags/tag51.xml"/><Relationship Id="rId4" Type="http://schemas.openxmlformats.org/officeDocument/2006/relationships/slideLayout" Target="../slideLayouts/slideLayout33.xml"/><Relationship Id="rId9" Type="http://schemas.openxmlformats.org/officeDocument/2006/relationships/slideLayout" Target="../slideLayouts/slideLayout38.xml"/><Relationship Id="rId14" Type="http://schemas.openxmlformats.org/officeDocument/2006/relationships/slideLayout" Target="../slideLayouts/slideLayout43.xml"/><Relationship Id="rId22" Type="http://schemas.openxmlformats.org/officeDocument/2006/relationships/slideLayout" Target="../slideLayouts/slideLayout51.xml"/><Relationship Id="rId27" Type="http://schemas.openxmlformats.org/officeDocument/2006/relationships/vmlDrawing" Target="../drawings/vmlDrawing2.vml"/><Relationship Id="rId30" Type="http://schemas.openxmlformats.org/officeDocument/2006/relationships/tags" Target="../tags/tag50.xml"/><Relationship Id="rId35" Type="http://schemas.openxmlformats.org/officeDocument/2006/relationships/image" Target="../media/image5.jpeg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7.xml"/><Relationship Id="rId2" Type="http://schemas.openxmlformats.org/officeDocument/2006/relationships/slideLayout" Target="../slideLayouts/slideLayout56.xml"/><Relationship Id="rId1" Type="http://schemas.openxmlformats.org/officeDocument/2006/relationships/slideLayout" Target="../slideLayouts/slideLayout55.xml"/><Relationship Id="rId6" Type="http://schemas.openxmlformats.org/officeDocument/2006/relationships/theme" Target="../theme/theme4.xml"/><Relationship Id="rId5" Type="http://schemas.openxmlformats.org/officeDocument/2006/relationships/slideLayout" Target="../slideLayouts/slideLayout59.xml"/><Relationship Id="rId4" Type="http://schemas.openxmlformats.org/officeDocument/2006/relationships/slideLayout" Target="../slideLayouts/slideLayout58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7.xml"/><Relationship Id="rId13" Type="http://schemas.openxmlformats.org/officeDocument/2006/relationships/slideLayout" Target="../slideLayouts/slideLayout72.xml"/><Relationship Id="rId3" Type="http://schemas.openxmlformats.org/officeDocument/2006/relationships/slideLayout" Target="../slideLayouts/slideLayout62.xml"/><Relationship Id="rId7" Type="http://schemas.openxmlformats.org/officeDocument/2006/relationships/slideLayout" Target="../slideLayouts/slideLayout66.xml"/><Relationship Id="rId12" Type="http://schemas.openxmlformats.org/officeDocument/2006/relationships/slideLayout" Target="../slideLayouts/slideLayout71.xml"/><Relationship Id="rId2" Type="http://schemas.openxmlformats.org/officeDocument/2006/relationships/slideLayout" Target="../slideLayouts/slideLayout61.xml"/><Relationship Id="rId1" Type="http://schemas.openxmlformats.org/officeDocument/2006/relationships/slideLayout" Target="../slideLayouts/slideLayout60.xml"/><Relationship Id="rId6" Type="http://schemas.openxmlformats.org/officeDocument/2006/relationships/slideLayout" Target="../slideLayouts/slideLayout65.xml"/><Relationship Id="rId11" Type="http://schemas.openxmlformats.org/officeDocument/2006/relationships/slideLayout" Target="../slideLayouts/slideLayout70.xml"/><Relationship Id="rId5" Type="http://schemas.openxmlformats.org/officeDocument/2006/relationships/slideLayout" Target="../slideLayouts/slideLayout64.xml"/><Relationship Id="rId15" Type="http://schemas.openxmlformats.org/officeDocument/2006/relationships/theme" Target="../theme/theme5.xml"/><Relationship Id="rId10" Type="http://schemas.openxmlformats.org/officeDocument/2006/relationships/slideLayout" Target="../slideLayouts/slideLayout69.xml"/><Relationship Id="rId4" Type="http://schemas.openxmlformats.org/officeDocument/2006/relationships/slideLayout" Target="../slideLayouts/slideLayout63.xml"/><Relationship Id="rId9" Type="http://schemas.openxmlformats.org/officeDocument/2006/relationships/slideLayout" Target="../slideLayouts/slideLayout68.xml"/><Relationship Id="rId14" Type="http://schemas.openxmlformats.org/officeDocument/2006/relationships/slideLayout" Target="../slideLayouts/slideLayout7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1.xml"/><Relationship Id="rId13" Type="http://schemas.openxmlformats.org/officeDocument/2006/relationships/slideLayout" Target="../slideLayouts/slideLayout86.xml"/><Relationship Id="rId18" Type="http://schemas.openxmlformats.org/officeDocument/2006/relationships/slideLayout" Target="../slideLayouts/slideLayout91.xml"/><Relationship Id="rId26" Type="http://schemas.openxmlformats.org/officeDocument/2006/relationships/theme" Target="../theme/theme6.xml"/><Relationship Id="rId3" Type="http://schemas.openxmlformats.org/officeDocument/2006/relationships/slideLayout" Target="../slideLayouts/slideLayout76.xml"/><Relationship Id="rId21" Type="http://schemas.openxmlformats.org/officeDocument/2006/relationships/slideLayout" Target="../slideLayouts/slideLayout94.xml"/><Relationship Id="rId34" Type="http://schemas.openxmlformats.org/officeDocument/2006/relationships/oleObject" Target="../embeddings/oleObject23.bin"/><Relationship Id="rId7" Type="http://schemas.openxmlformats.org/officeDocument/2006/relationships/slideLayout" Target="../slideLayouts/slideLayout80.xml"/><Relationship Id="rId12" Type="http://schemas.openxmlformats.org/officeDocument/2006/relationships/slideLayout" Target="../slideLayouts/slideLayout85.xml"/><Relationship Id="rId17" Type="http://schemas.openxmlformats.org/officeDocument/2006/relationships/slideLayout" Target="../slideLayouts/slideLayout90.xml"/><Relationship Id="rId25" Type="http://schemas.openxmlformats.org/officeDocument/2006/relationships/slideLayout" Target="../slideLayouts/slideLayout98.xml"/><Relationship Id="rId33" Type="http://schemas.openxmlformats.org/officeDocument/2006/relationships/tags" Target="../tags/tag139.xml"/><Relationship Id="rId2" Type="http://schemas.openxmlformats.org/officeDocument/2006/relationships/slideLayout" Target="../slideLayouts/slideLayout75.xml"/><Relationship Id="rId16" Type="http://schemas.openxmlformats.org/officeDocument/2006/relationships/slideLayout" Target="../slideLayouts/slideLayout89.xml"/><Relationship Id="rId20" Type="http://schemas.openxmlformats.org/officeDocument/2006/relationships/slideLayout" Target="../slideLayouts/slideLayout93.xml"/><Relationship Id="rId29" Type="http://schemas.openxmlformats.org/officeDocument/2006/relationships/tags" Target="../tags/tag135.xml"/><Relationship Id="rId1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9.xml"/><Relationship Id="rId11" Type="http://schemas.openxmlformats.org/officeDocument/2006/relationships/slideLayout" Target="../slideLayouts/slideLayout84.xml"/><Relationship Id="rId24" Type="http://schemas.openxmlformats.org/officeDocument/2006/relationships/slideLayout" Target="../slideLayouts/slideLayout97.xml"/><Relationship Id="rId32" Type="http://schemas.openxmlformats.org/officeDocument/2006/relationships/tags" Target="../tags/tag138.xml"/><Relationship Id="rId37" Type="http://schemas.openxmlformats.org/officeDocument/2006/relationships/image" Target="../media/image7.png"/><Relationship Id="rId5" Type="http://schemas.openxmlformats.org/officeDocument/2006/relationships/slideLayout" Target="../slideLayouts/slideLayout78.xml"/><Relationship Id="rId15" Type="http://schemas.openxmlformats.org/officeDocument/2006/relationships/slideLayout" Target="../slideLayouts/slideLayout88.xml"/><Relationship Id="rId23" Type="http://schemas.openxmlformats.org/officeDocument/2006/relationships/slideLayout" Target="../slideLayouts/slideLayout96.xml"/><Relationship Id="rId28" Type="http://schemas.openxmlformats.org/officeDocument/2006/relationships/tags" Target="../tags/tag134.xml"/><Relationship Id="rId36" Type="http://schemas.openxmlformats.org/officeDocument/2006/relationships/image" Target="../media/image6.png"/><Relationship Id="rId10" Type="http://schemas.openxmlformats.org/officeDocument/2006/relationships/slideLayout" Target="../slideLayouts/slideLayout83.xml"/><Relationship Id="rId19" Type="http://schemas.openxmlformats.org/officeDocument/2006/relationships/slideLayout" Target="../slideLayouts/slideLayout92.xml"/><Relationship Id="rId31" Type="http://schemas.openxmlformats.org/officeDocument/2006/relationships/tags" Target="../tags/tag137.xml"/><Relationship Id="rId4" Type="http://schemas.openxmlformats.org/officeDocument/2006/relationships/slideLayout" Target="../slideLayouts/slideLayout77.xml"/><Relationship Id="rId9" Type="http://schemas.openxmlformats.org/officeDocument/2006/relationships/slideLayout" Target="../slideLayouts/slideLayout82.xml"/><Relationship Id="rId14" Type="http://schemas.openxmlformats.org/officeDocument/2006/relationships/slideLayout" Target="../slideLayouts/slideLayout87.xml"/><Relationship Id="rId22" Type="http://schemas.openxmlformats.org/officeDocument/2006/relationships/slideLayout" Target="../slideLayouts/slideLayout95.xml"/><Relationship Id="rId27" Type="http://schemas.openxmlformats.org/officeDocument/2006/relationships/vmlDrawing" Target="../drawings/vmlDrawing23.vml"/><Relationship Id="rId30" Type="http://schemas.openxmlformats.org/officeDocument/2006/relationships/tags" Target="../tags/tag136.xml"/><Relationship Id="rId35" Type="http://schemas.openxmlformats.org/officeDocument/2006/relationships/image" Target="../media/image5.jpe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6.xml"/><Relationship Id="rId13" Type="http://schemas.openxmlformats.org/officeDocument/2006/relationships/slideLayout" Target="../slideLayouts/slideLayout111.xml"/><Relationship Id="rId18" Type="http://schemas.openxmlformats.org/officeDocument/2006/relationships/slideLayout" Target="../slideLayouts/slideLayout116.xml"/><Relationship Id="rId26" Type="http://schemas.openxmlformats.org/officeDocument/2006/relationships/vmlDrawing" Target="../drawings/vmlDrawing44.vml"/><Relationship Id="rId3" Type="http://schemas.openxmlformats.org/officeDocument/2006/relationships/slideLayout" Target="../slideLayouts/slideLayout101.xml"/><Relationship Id="rId21" Type="http://schemas.openxmlformats.org/officeDocument/2006/relationships/slideLayout" Target="../slideLayouts/slideLayout119.xml"/><Relationship Id="rId34" Type="http://schemas.openxmlformats.org/officeDocument/2006/relationships/image" Target="../media/image5.jpeg"/><Relationship Id="rId7" Type="http://schemas.openxmlformats.org/officeDocument/2006/relationships/slideLayout" Target="../slideLayouts/slideLayout105.xml"/><Relationship Id="rId12" Type="http://schemas.openxmlformats.org/officeDocument/2006/relationships/slideLayout" Target="../slideLayouts/slideLayout110.xml"/><Relationship Id="rId17" Type="http://schemas.openxmlformats.org/officeDocument/2006/relationships/slideLayout" Target="../slideLayouts/slideLayout115.xml"/><Relationship Id="rId25" Type="http://schemas.openxmlformats.org/officeDocument/2006/relationships/theme" Target="../theme/theme7.xml"/><Relationship Id="rId33" Type="http://schemas.openxmlformats.org/officeDocument/2006/relationships/oleObject" Target="../embeddings/oleObject44.bin"/><Relationship Id="rId2" Type="http://schemas.openxmlformats.org/officeDocument/2006/relationships/slideLayout" Target="../slideLayouts/slideLayout100.xml"/><Relationship Id="rId16" Type="http://schemas.openxmlformats.org/officeDocument/2006/relationships/slideLayout" Target="../slideLayouts/slideLayout114.xml"/><Relationship Id="rId20" Type="http://schemas.openxmlformats.org/officeDocument/2006/relationships/slideLayout" Target="../slideLayouts/slideLayout118.xml"/><Relationship Id="rId29" Type="http://schemas.openxmlformats.org/officeDocument/2006/relationships/tags" Target="../tags/tag220.xml"/><Relationship Id="rId1" Type="http://schemas.openxmlformats.org/officeDocument/2006/relationships/slideLayout" Target="../slideLayouts/slideLayout99.xml"/><Relationship Id="rId6" Type="http://schemas.openxmlformats.org/officeDocument/2006/relationships/slideLayout" Target="../slideLayouts/slideLayout104.xml"/><Relationship Id="rId11" Type="http://schemas.openxmlformats.org/officeDocument/2006/relationships/slideLayout" Target="../slideLayouts/slideLayout109.xml"/><Relationship Id="rId24" Type="http://schemas.openxmlformats.org/officeDocument/2006/relationships/slideLayout" Target="../slideLayouts/slideLayout122.xml"/><Relationship Id="rId32" Type="http://schemas.openxmlformats.org/officeDocument/2006/relationships/tags" Target="../tags/tag223.xml"/><Relationship Id="rId5" Type="http://schemas.openxmlformats.org/officeDocument/2006/relationships/slideLayout" Target="../slideLayouts/slideLayout103.xml"/><Relationship Id="rId15" Type="http://schemas.openxmlformats.org/officeDocument/2006/relationships/slideLayout" Target="../slideLayouts/slideLayout113.xml"/><Relationship Id="rId23" Type="http://schemas.openxmlformats.org/officeDocument/2006/relationships/slideLayout" Target="../slideLayouts/slideLayout121.xml"/><Relationship Id="rId28" Type="http://schemas.openxmlformats.org/officeDocument/2006/relationships/tags" Target="../tags/tag219.xml"/><Relationship Id="rId36" Type="http://schemas.openxmlformats.org/officeDocument/2006/relationships/image" Target="../media/image7.png"/><Relationship Id="rId10" Type="http://schemas.openxmlformats.org/officeDocument/2006/relationships/slideLayout" Target="../slideLayouts/slideLayout108.xml"/><Relationship Id="rId19" Type="http://schemas.openxmlformats.org/officeDocument/2006/relationships/slideLayout" Target="../slideLayouts/slideLayout117.xml"/><Relationship Id="rId31" Type="http://schemas.openxmlformats.org/officeDocument/2006/relationships/tags" Target="../tags/tag222.xml"/><Relationship Id="rId4" Type="http://schemas.openxmlformats.org/officeDocument/2006/relationships/slideLayout" Target="../slideLayouts/slideLayout102.xml"/><Relationship Id="rId9" Type="http://schemas.openxmlformats.org/officeDocument/2006/relationships/slideLayout" Target="../slideLayouts/slideLayout107.xml"/><Relationship Id="rId14" Type="http://schemas.openxmlformats.org/officeDocument/2006/relationships/slideLayout" Target="../slideLayouts/slideLayout112.xml"/><Relationship Id="rId22" Type="http://schemas.openxmlformats.org/officeDocument/2006/relationships/slideLayout" Target="../slideLayouts/slideLayout120.xml"/><Relationship Id="rId27" Type="http://schemas.openxmlformats.org/officeDocument/2006/relationships/tags" Target="../tags/tag218.xml"/><Relationship Id="rId30" Type="http://schemas.openxmlformats.org/officeDocument/2006/relationships/tags" Target="../tags/tag221.xml"/><Relationship Id="rId35" Type="http://schemas.openxmlformats.org/officeDocument/2006/relationships/image" Target="../media/image6.pn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0.xml"/><Relationship Id="rId13" Type="http://schemas.openxmlformats.org/officeDocument/2006/relationships/slideLayout" Target="../slideLayouts/slideLayout135.xml"/><Relationship Id="rId18" Type="http://schemas.openxmlformats.org/officeDocument/2006/relationships/slideLayout" Target="../slideLayouts/slideLayout140.xml"/><Relationship Id="rId26" Type="http://schemas.openxmlformats.org/officeDocument/2006/relationships/vmlDrawing" Target="../drawings/vmlDrawing65.vml"/><Relationship Id="rId3" Type="http://schemas.openxmlformats.org/officeDocument/2006/relationships/slideLayout" Target="../slideLayouts/slideLayout125.xml"/><Relationship Id="rId21" Type="http://schemas.openxmlformats.org/officeDocument/2006/relationships/slideLayout" Target="../slideLayouts/slideLayout143.xml"/><Relationship Id="rId34" Type="http://schemas.openxmlformats.org/officeDocument/2006/relationships/image" Target="../media/image5.jpeg"/><Relationship Id="rId7" Type="http://schemas.openxmlformats.org/officeDocument/2006/relationships/slideLayout" Target="../slideLayouts/slideLayout129.xml"/><Relationship Id="rId12" Type="http://schemas.openxmlformats.org/officeDocument/2006/relationships/slideLayout" Target="../slideLayouts/slideLayout134.xml"/><Relationship Id="rId17" Type="http://schemas.openxmlformats.org/officeDocument/2006/relationships/slideLayout" Target="../slideLayouts/slideLayout139.xml"/><Relationship Id="rId25" Type="http://schemas.openxmlformats.org/officeDocument/2006/relationships/theme" Target="../theme/theme8.xml"/><Relationship Id="rId33" Type="http://schemas.openxmlformats.org/officeDocument/2006/relationships/oleObject" Target="../embeddings/oleObject65.bin"/><Relationship Id="rId2" Type="http://schemas.openxmlformats.org/officeDocument/2006/relationships/slideLayout" Target="../slideLayouts/slideLayout124.xml"/><Relationship Id="rId16" Type="http://schemas.openxmlformats.org/officeDocument/2006/relationships/slideLayout" Target="../slideLayouts/slideLayout138.xml"/><Relationship Id="rId20" Type="http://schemas.openxmlformats.org/officeDocument/2006/relationships/slideLayout" Target="../slideLayouts/slideLayout142.xml"/><Relationship Id="rId29" Type="http://schemas.openxmlformats.org/officeDocument/2006/relationships/tags" Target="../tags/tag304.xml"/><Relationship Id="rId1" Type="http://schemas.openxmlformats.org/officeDocument/2006/relationships/slideLayout" Target="../slideLayouts/slideLayout123.xml"/><Relationship Id="rId6" Type="http://schemas.openxmlformats.org/officeDocument/2006/relationships/slideLayout" Target="../slideLayouts/slideLayout128.xml"/><Relationship Id="rId11" Type="http://schemas.openxmlformats.org/officeDocument/2006/relationships/slideLayout" Target="../slideLayouts/slideLayout133.xml"/><Relationship Id="rId24" Type="http://schemas.openxmlformats.org/officeDocument/2006/relationships/slideLayout" Target="../slideLayouts/slideLayout146.xml"/><Relationship Id="rId32" Type="http://schemas.openxmlformats.org/officeDocument/2006/relationships/tags" Target="../tags/tag307.xml"/><Relationship Id="rId5" Type="http://schemas.openxmlformats.org/officeDocument/2006/relationships/slideLayout" Target="../slideLayouts/slideLayout127.xml"/><Relationship Id="rId15" Type="http://schemas.openxmlformats.org/officeDocument/2006/relationships/slideLayout" Target="../slideLayouts/slideLayout137.xml"/><Relationship Id="rId23" Type="http://schemas.openxmlformats.org/officeDocument/2006/relationships/slideLayout" Target="../slideLayouts/slideLayout145.xml"/><Relationship Id="rId28" Type="http://schemas.openxmlformats.org/officeDocument/2006/relationships/tags" Target="../tags/tag303.xml"/><Relationship Id="rId36" Type="http://schemas.openxmlformats.org/officeDocument/2006/relationships/image" Target="../media/image7.png"/><Relationship Id="rId10" Type="http://schemas.openxmlformats.org/officeDocument/2006/relationships/slideLayout" Target="../slideLayouts/slideLayout132.xml"/><Relationship Id="rId19" Type="http://schemas.openxmlformats.org/officeDocument/2006/relationships/slideLayout" Target="../slideLayouts/slideLayout141.xml"/><Relationship Id="rId31" Type="http://schemas.openxmlformats.org/officeDocument/2006/relationships/tags" Target="../tags/tag306.xml"/><Relationship Id="rId4" Type="http://schemas.openxmlformats.org/officeDocument/2006/relationships/slideLayout" Target="../slideLayouts/slideLayout126.xml"/><Relationship Id="rId9" Type="http://schemas.openxmlformats.org/officeDocument/2006/relationships/slideLayout" Target="../slideLayouts/slideLayout131.xml"/><Relationship Id="rId14" Type="http://schemas.openxmlformats.org/officeDocument/2006/relationships/slideLayout" Target="../slideLayouts/slideLayout136.xml"/><Relationship Id="rId22" Type="http://schemas.openxmlformats.org/officeDocument/2006/relationships/slideLayout" Target="../slideLayouts/slideLayout144.xml"/><Relationship Id="rId27" Type="http://schemas.openxmlformats.org/officeDocument/2006/relationships/tags" Target="../tags/tag302.xml"/><Relationship Id="rId30" Type="http://schemas.openxmlformats.org/officeDocument/2006/relationships/tags" Target="../tags/tag305.xml"/><Relationship Id="rId35" Type="http://schemas.openxmlformats.org/officeDocument/2006/relationships/image" Target="../media/image6.pn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4.xml"/><Relationship Id="rId13" Type="http://schemas.openxmlformats.org/officeDocument/2006/relationships/slideLayout" Target="../slideLayouts/slideLayout159.xml"/><Relationship Id="rId18" Type="http://schemas.openxmlformats.org/officeDocument/2006/relationships/slideLayout" Target="../slideLayouts/slideLayout164.xml"/><Relationship Id="rId26" Type="http://schemas.openxmlformats.org/officeDocument/2006/relationships/slideLayout" Target="../slideLayouts/slideLayout172.xml"/><Relationship Id="rId39" Type="http://schemas.openxmlformats.org/officeDocument/2006/relationships/image" Target="../media/image7.png"/><Relationship Id="rId3" Type="http://schemas.openxmlformats.org/officeDocument/2006/relationships/slideLayout" Target="../slideLayouts/slideLayout149.xml"/><Relationship Id="rId21" Type="http://schemas.openxmlformats.org/officeDocument/2006/relationships/slideLayout" Target="../slideLayouts/slideLayout167.xml"/><Relationship Id="rId34" Type="http://schemas.openxmlformats.org/officeDocument/2006/relationships/tags" Target="../tags/tag352.xml"/><Relationship Id="rId7" Type="http://schemas.openxmlformats.org/officeDocument/2006/relationships/slideLayout" Target="../slideLayouts/slideLayout153.xml"/><Relationship Id="rId12" Type="http://schemas.openxmlformats.org/officeDocument/2006/relationships/slideLayout" Target="../slideLayouts/slideLayout158.xml"/><Relationship Id="rId17" Type="http://schemas.openxmlformats.org/officeDocument/2006/relationships/slideLayout" Target="../slideLayouts/slideLayout163.xml"/><Relationship Id="rId25" Type="http://schemas.openxmlformats.org/officeDocument/2006/relationships/slideLayout" Target="../slideLayouts/slideLayout171.xml"/><Relationship Id="rId33" Type="http://schemas.openxmlformats.org/officeDocument/2006/relationships/tags" Target="../tags/tag351.xml"/><Relationship Id="rId38" Type="http://schemas.openxmlformats.org/officeDocument/2006/relationships/image" Target="../media/image6.png"/><Relationship Id="rId2" Type="http://schemas.openxmlformats.org/officeDocument/2006/relationships/slideLayout" Target="../slideLayouts/slideLayout148.xml"/><Relationship Id="rId16" Type="http://schemas.openxmlformats.org/officeDocument/2006/relationships/slideLayout" Target="../slideLayouts/slideLayout162.xml"/><Relationship Id="rId20" Type="http://schemas.openxmlformats.org/officeDocument/2006/relationships/slideLayout" Target="../slideLayouts/slideLayout166.xml"/><Relationship Id="rId29" Type="http://schemas.openxmlformats.org/officeDocument/2006/relationships/vmlDrawing" Target="../drawings/vmlDrawing66.vml"/><Relationship Id="rId1" Type="http://schemas.openxmlformats.org/officeDocument/2006/relationships/slideLayout" Target="../slideLayouts/slideLayout147.xml"/><Relationship Id="rId6" Type="http://schemas.openxmlformats.org/officeDocument/2006/relationships/slideLayout" Target="../slideLayouts/slideLayout152.xml"/><Relationship Id="rId11" Type="http://schemas.openxmlformats.org/officeDocument/2006/relationships/slideLayout" Target="../slideLayouts/slideLayout157.xml"/><Relationship Id="rId24" Type="http://schemas.openxmlformats.org/officeDocument/2006/relationships/slideLayout" Target="../slideLayouts/slideLayout170.xml"/><Relationship Id="rId32" Type="http://schemas.openxmlformats.org/officeDocument/2006/relationships/tags" Target="../tags/tag350.xml"/><Relationship Id="rId37" Type="http://schemas.openxmlformats.org/officeDocument/2006/relationships/image" Target="../media/image5.jpeg"/><Relationship Id="rId5" Type="http://schemas.openxmlformats.org/officeDocument/2006/relationships/slideLayout" Target="../slideLayouts/slideLayout151.xml"/><Relationship Id="rId15" Type="http://schemas.openxmlformats.org/officeDocument/2006/relationships/slideLayout" Target="../slideLayouts/slideLayout161.xml"/><Relationship Id="rId23" Type="http://schemas.openxmlformats.org/officeDocument/2006/relationships/slideLayout" Target="../slideLayouts/slideLayout169.xml"/><Relationship Id="rId28" Type="http://schemas.openxmlformats.org/officeDocument/2006/relationships/theme" Target="../theme/theme9.xml"/><Relationship Id="rId36" Type="http://schemas.openxmlformats.org/officeDocument/2006/relationships/oleObject" Target="../embeddings/oleObject66.bin"/><Relationship Id="rId10" Type="http://schemas.openxmlformats.org/officeDocument/2006/relationships/slideLayout" Target="../slideLayouts/slideLayout156.xml"/><Relationship Id="rId19" Type="http://schemas.openxmlformats.org/officeDocument/2006/relationships/slideLayout" Target="../slideLayouts/slideLayout165.xml"/><Relationship Id="rId31" Type="http://schemas.openxmlformats.org/officeDocument/2006/relationships/tags" Target="../tags/tag349.xml"/><Relationship Id="rId4" Type="http://schemas.openxmlformats.org/officeDocument/2006/relationships/slideLayout" Target="../slideLayouts/slideLayout150.xml"/><Relationship Id="rId9" Type="http://schemas.openxmlformats.org/officeDocument/2006/relationships/slideLayout" Target="../slideLayouts/slideLayout155.xml"/><Relationship Id="rId14" Type="http://schemas.openxmlformats.org/officeDocument/2006/relationships/slideLayout" Target="../slideLayouts/slideLayout160.xml"/><Relationship Id="rId22" Type="http://schemas.openxmlformats.org/officeDocument/2006/relationships/slideLayout" Target="../slideLayouts/slideLayout168.xml"/><Relationship Id="rId27" Type="http://schemas.openxmlformats.org/officeDocument/2006/relationships/slideLayout" Target="../slideLayouts/slideLayout173.xml"/><Relationship Id="rId30" Type="http://schemas.openxmlformats.org/officeDocument/2006/relationships/tags" Target="../tags/tag348.xml"/><Relationship Id="rId35" Type="http://schemas.openxmlformats.org/officeDocument/2006/relationships/tags" Target="../tags/tag35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k object 16"/>
          <p:cNvSpPr/>
          <p:nvPr/>
        </p:nvSpPr>
        <p:spPr>
          <a:xfrm>
            <a:off x="299530" y="806849"/>
            <a:ext cx="8844469" cy="198555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103733" y="210438"/>
            <a:ext cx="8936532" cy="6261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1" i="0">
                <a:solidFill>
                  <a:srgbClr val="000091"/>
                </a:solidFill>
                <a:latin typeface="Century Gothic"/>
                <a:cs typeface="Century Gothic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509117" y="1731391"/>
            <a:ext cx="7938134" cy="385127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600" b="0" i="0">
                <a:solidFill>
                  <a:schemeClr val="tx1"/>
                </a:solidFill>
                <a:latin typeface="Century Gothic"/>
                <a:cs typeface="Century Gothic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6377940"/>
            <a:ext cx="292608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457200" y="6377940"/>
            <a:ext cx="210312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pPr/>
              <a:t>8/8/2019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740013" y="6536172"/>
            <a:ext cx="179704" cy="16573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900" b="0" i="0">
                <a:solidFill>
                  <a:srgbClr val="003399"/>
                </a:solidFill>
                <a:latin typeface="Century Gothic"/>
                <a:cs typeface="Century Gothic"/>
              </a:defRPr>
            </a:lvl1pPr>
          </a:lstStyle>
          <a:p>
            <a:pPr marL="25400">
              <a:lnSpc>
                <a:spcPct val="100000"/>
              </a:lnSpc>
              <a:spcBef>
                <a:spcPts val="105"/>
              </a:spcBef>
            </a:pPr>
            <a:fld id="{81D60167-4931-47E6-BA6A-407CBD079E47}" type="slidenum">
              <a:rPr dirty="0"/>
              <a:pPr marL="25400">
                <a:lnSpc>
                  <a:spcPct val="100000"/>
                </a:lnSpc>
                <a:spcBef>
                  <a:spcPts val="105"/>
                </a:spcBef>
              </a:pPr>
              <a:t>‹#›</a:t>
            </a:fld>
            <a:endParaRPr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050" name="think-cell Slide" r:id="rId33" imgW="270" imgH="270" progId="">
              <p:embed/>
            </p:oleObj>
          </a:graphicData>
        </a:graphic>
      </p:graphicFrame>
      <p:pic>
        <p:nvPicPr>
          <p:cNvPr id="9" name="Picture 8"/>
          <p:cNvPicPr>
            <a:picLocks noChangeAspect="1"/>
          </p:cNvPicPr>
          <p:nvPr>
            <p:custDataLst>
              <p:tags r:id="rId27"/>
            </p:custDataLst>
          </p:nvPr>
        </p:nvPicPr>
        <p:blipFill rotWithShape="1">
          <a:blip r:embed="rId3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0" y="740232"/>
            <a:ext cx="9144000" cy="377371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295275" y="180976"/>
            <a:ext cx="8597205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9"/>
            </p:custDataLst>
          </p:nvPr>
        </p:nvSpPr>
        <p:spPr>
          <a:xfrm>
            <a:off x="295275" y="1196752"/>
            <a:ext cx="8597205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0"/>
            </p:custDataLst>
          </p:nvPr>
        </p:nvSpPr>
        <p:spPr>
          <a:xfrm>
            <a:off x="8378080" y="6468150"/>
            <a:ext cx="514400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/>
              <a:pPr/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1"/>
            </p:custDataLst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GB"/>
              <a:t>Game Changer Presentation</a:t>
            </a:r>
            <a:endParaRPr lang="en-GB" dirty="0"/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2"/>
            </p:custDataLst>
          </p:nvPr>
        </p:nvSpPr>
        <p:spPr>
          <a:xfrm>
            <a:off x="2060973" y="6468150"/>
            <a:ext cx="1944216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pPr lvl="0"/>
            <a:r>
              <a:rPr lang="en-US" sz="800" dirty="0">
                <a:solidFill>
                  <a:schemeClr val="accent3"/>
                </a:solidFill>
              </a:rPr>
              <a:t>© Western Cape Government 2012  |</a:t>
            </a:r>
            <a:endParaRPr lang="en-GB" sz="800" dirty="0">
              <a:solidFill>
                <a:schemeClr val="accent3"/>
              </a:solidFill>
            </a:endParaRPr>
          </a:p>
        </p:txBody>
      </p:sp>
      <p:pic>
        <p:nvPicPr>
          <p:cNvPr id="13" name="Picture 107" descr="C:\Users\Conny\Desktop\WCG\WCG - Logo\PNG\Logos blue\WCG - Logo - General - Blue.png"/>
          <p:cNvPicPr>
            <a:picLocks noChangeAspect="1" noChangeArrowheads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3849" y="6149078"/>
            <a:ext cx="1109368" cy="3462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8326229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2" r:id="rId6"/>
    <p:sldLayoutId id="2147483673" r:id="rId7"/>
    <p:sldLayoutId id="2147483674" r:id="rId8"/>
    <p:sldLayoutId id="2147483675" r:id="rId9"/>
    <p:sldLayoutId id="2147483676" r:id="rId10"/>
    <p:sldLayoutId id="2147483677" r:id="rId11"/>
    <p:sldLayoutId id="2147483678" r:id="rId12"/>
    <p:sldLayoutId id="2147483679" r:id="rId13"/>
    <p:sldLayoutId id="2147483680" r:id="rId14"/>
    <p:sldLayoutId id="2147483681" r:id="rId15"/>
    <p:sldLayoutId id="2147483682" r:id="rId16"/>
    <p:sldLayoutId id="2147483683" r:id="rId17"/>
    <p:sldLayoutId id="2147483684" r:id="rId18"/>
    <p:sldLayoutId id="2147483685" r:id="rId19"/>
    <p:sldLayoutId id="2147483686" r:id="rId20"/>
    <p:sldLayoutId id="2147483687" r:id="rId21"/>
    <p:sldLayoutId id="2147483688" r:id="rId22"/>
    <p:sldLayoutId id="2147483689" r:id="rId23"/>
    <p:sldLayoutId id="2147483690" r:id="rId24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6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ct 9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2074" name="think-cell Slide" r:id="rId34" imgW="270" imgH="270" progId="">
              <p:embed/>
            </p:oleObj>
          </a:graphicData>
        </a:graphic>
      </p:graphicFrame>
      <p:pic>
        <p:nvPicPr>
          <p:cNvPr id="3075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739777"/>
            <a:ext cx="9144000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6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 bwMode="auto">
          <a:xfrm>
            <a:off x="295276" y="180975"/>
            <a:ext cx="8597900" cy="558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72000" tIns="72000" rIns="72000" bIns="7200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US" altLang="en-US"/>
          </a:p>
        </p:txBody>
      </p:sp>
      <p:sp>
        <p:nvSpPr>
          <p:cNvPr id="3077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 bwMode="auto">
          <a:xfrm>
            <a:off x="295276" y="1196975"/>
            <a:ext cx="8597900" cy="4883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First Text Level</a:t>
            </a:r>
          </a:p>
          <a:p>
            <a:pPr lvl="1"/>
            <a:r>
              <a:rPr lang="en-US" altLang="en-US"/>
              <a:t>Second</a:t>
            </a:r>
          </a:p>
          <a:p>
            <a:pPr lvl="2"/>
            <a:r>
              <a:rPr lang="en-US" altLang="en-US"/>
              <a:t>Third</a:t>
            </a:r>
          </a:p>
          <a:p>
            <a:pPr lvl="3"/>
            <a:r>
              <a:rPr lang="en-US" altLang="en-US"/>
              <a:t>Fourth</a:t>
            </a:r>
          </a:p>
          <a:p>
            <a:pPr lvl="4"/>
            <a:r>
              <a:rPr lang="en-US" altLang="en-US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825" y="6467477"/>
            <a:ext cx="514350" cy="231775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 defTabSz="685800" eaLnBrk="1" fontAlgn="auto" hangingPunct="1">
              <a:spcBef>
                <a:spcPts val="0"/>
              </a:spcBef>
              <a:spcAft>
                <a:spcPts val="0"/>
              </a:spcAft>
              <a:defRPr sz="675">
                <a:solidFill>
                  <a:srgbClr val="003399"/>
                </a:solidFill>
                <a:latin typeface="Century Gothic" pitchFamily="34" charset="0"/>
                <a:cs typeface="Arial" charset="0"/>
              </a:defRPr>
            </a:lvl1pPr>
          </a:lstStyle>
          <a:p>
            <a:pPr>
              <a:defRPr/>
            </a:pPr>
            <a:fld id="{6B1B53BF-626B-496B-A546-A5F9EB408656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364" y="6467477"/>
            <a:ext cx="4138612" cy="231775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 defTabSz="685800" eaLnBrk="1" fontAlgn="auto" hangingPunct="1">
              <a:spcBef>
                <a:spcPts val="0"/>
              </a:spcBef>
              <a:spcAft>
                <a:spcPts val="0"/>
              </a:spcAft>
              <a:defRPr sz="600">
                <a:solidFill>
                  <a:srgbClr val="998F86"/>
                </a:solidFill>
                <a:latin typeface="Century Gothic"/>
                <a:cs typeface="Arial" charset="0"/>
              </a:defRPr>
            </a:lvl1pPr>
          </a:lstStyle>
          <a:p>
            <a:pPr>
              <a:defRPr/>
            </a:pPr>
            <a:r>
              <a:rPr lang="en-ZA"/>
              <a:t>Stocktake</a:t>
            </a:r>
            <a:endParaRPr lang="en-GB" dirty="0"/>
          </a:p>
        </p:txBody>
      </p:sp>
      <p:sp>
        <p:nvSpPr>
          <p:cNvPr id="3080" name="Rectangle 6"/>
          <p:cNvSpPr>
            <a:spLocks/>
          </p:cNvSpPr>
          <p:nvPr>
            <p:custDataLst>
              <p:tags r:id="rId33"/>
            </p:custDataLst>
          </p:nvPr>
        </p:nvSpPr>
        <p:spPr bwMode="auto">
          <a:xfrm>
            <a:off x="2060576" y="6467477"/>
            <a:ext cx="1944688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4000" tIns="54000" rIns="0" b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685800">
              <a:defRPr/>
            </a:pPr>
            <a:r>
              <a:rPr lang="en-US" sz="600">
                <a:solidFill>
                  <a:srgbClr val="998F8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© Western Cape Government 2012  |</a:t>
            </a:r>
            <a:endParaRPr lang="en-GB" sz="600">
              <a:solidFill>
                <a:srgbClr val="998F86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081" name="Picture 107" descr="C:\Users\Conny\Desktop\WCG\WCG - Logo\PNG\Logos blue\WCG - Logo - General - Blue.png"/>
          <p:cNvPicPr>
            <a:picLocks noChangeAspect="1"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4639" y="6148388"/>
            <a:ext cx="1108075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40930181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  <p:sldLayoutId id="2147483695" r:id="rId4"/>
    <p:sldLayoutId id="2147483696" r:id="rId5"/>
    <p:sldLayoutId id="2147483697" r:id="rId6"/>
    <p:sldLayoutId id="2147483698" r:id="rId7"/>
    <p:sldLayoutId id="2147483699" r:id="rId8"/>
    <p:sldLayoutId id="2147483700" r:id="rId9"/>
    <p:sldLayoutId id="2147483701" r:id="rId10"/>
    <p:sldLayoutId id="2147483702" r:id="rId11"/>
    <p:sldLayoutId id="2147483703" r:id="rId12"/>
    <p:sldLayoutId id="2147483704" r:id="rId13"/>
    <p:sldLayoutId id="2147483705" r:id="rId14"/>
    <p:sldLayoutId id="2147483706" r:id="rId15"/>
    <p:sldLayoutId id="2147483707" r:id="rId16"/>
    <p:sldLayoutId id="2147483708" r:id="rId17"/>
    <p:sldLayoutId id="2147483709" r:id="rId18"/>
    <p:sldLayoutId id="2147483710" r:id="rId19"/>
    <p:sldLayoutId id="2147483711" r:id="rId20"/>
    <p:sldLayoutId id="2147483712" r:id="rId21"/>
    <p:sldLayoutId id="2147483713" r:id="rId22"/>
    <p:sldLayoutId id="2147483714" r:id="rId23"/>
    <p:sldLayoutId id="2147483715" r:id="rId24"/>
    <p:sldLayoutId id="2147483844" r:id="rId25"/>
  </p:sldLayoutIdLst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8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Century Gothic" panose="020B0502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Century Gothic" panose="020B0502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Century Gothic" panose="020B0502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Century Gothic" panose="020B0502020202020204" pitchFamily="34" charset="0"/>
        </a:defRPr>
      </a:lvl5pPr>
      <a:lvl6pPr marL="342900" algn="l" rtl="0" fontAlgn="base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Century Gothic" panose="020B0502020202020204" pitchFamily="34" charset="0"/>
        </a:defRPr>
      </a:lvl6pPr>
      <a:lvl7pPr marL="685800" algn="l" rtl="0" fontAlgn="base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Century Gothic" panose="020B0502020202020204" pitchFamily="34" charset="0"/>
        </a:defRPr>
      </a:lvl7pPr>
      <a:lvl8pPr marL="1028700" algn="l" rtl="0" fontAlgn="base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Century Gothic" panose="020B0502020202020204" pitchFamily="34" charset="0"/>
        </a:defRPr>
      </a:lvl8pPr>
      <a:lvl9pPr marL="1371600" algn="l" rtl="0" fontAlgn="base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Century Gothic" panose="020B0502020202020204" pitchFamily="34" charset="0"/>
        </a:defRPr>
      </a:lvl9pPr>
    </p:titleStyle>
    <p:bodyStyle>
      <a:lvl1pPr algn="l" rtl="0" eaLnBrk="0" fontAlgn="base" hangingPunct="0">
        <a:spcBef>
          <a:spcPts val="225"/>
        </a:spcBef>
        <a:spcAft>
          <a:spcPct val="0"/>
        </a:spcAft>
        <a:buFont typeface="Arial" panose="020B0604020202020204" pitchFamily="34" charset="0"/>
        <a:defRPr sz="12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34541" indent="-134541" algn="l" rtl="0" eaLnBrk="0" fontAlgn="base" hangingPunct="0">
        <a:spcBef>
          <a:spcPts val="225"/>
        </a:spcBef>
        <a:spcAft>
          <a:spcPct val="0"/>
        </a:spcAft>
        <a:buClr>
          <a:srgbClr val="002060"/>
        </a:buClr>
        <a:buBlip>
          <a:blip r:embed="rId37"/>
        </a:buBlip>
        <a:defRPr sz="12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269081" indent="-134541" algn="l" rtl="0" eaLnBrk="0" fontAlgn="base" hangingPunct="0">
        <a:spcBef>
          <a:spcPts val="225"/>
        </a:spcBef>
        <a:spcAft>
          <a:spcPct val="0"/>
        </a:spcAft>
        <a:buClr>
          <a:srgbClr val="998F86"/>
        </a:buClr>
        <a:buFont typeface="Arial" panose="020B0604020202020204" pitchFamily="34" charset="0"/>
        <a:buChar char="•"/>
        <a:defRPr lang="en-US" sz="1200" kern="1200" dirty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404813" indent="-134541" algn="l" rtl="0" eaLnBrk="0" fontAlgn="base" hangingPunct="0">
        <a:spcBef>
          <a:spcPts val="225"/>
        </a:spcBef>
        <a:spcAft>
          <a:spcPct val="0"/>
        </a:spcAft>
        <a:buClr>
          <a:srgbClr val="998F86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348979" indent="-1348979" algn="l" rtl="0" eaLnBrk="0" fontAlgn="base" hangingPunct="0">
        <a:spcBef>
          <a:spcPts val="225"/>
        </a:spcBef>
        <a:spcAft>
          <a:spcPct val="0"/>
        </a:spcAft>
        <a:buFont typeface="Arial" panose="020B0604020202020204" pitchFamily="34" charset="0"/>
        <a:defRPr sz="1200" kern="1200">
          <a:solidFill>
            <a:schemeClr val="tx2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2291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4"/>
            <a:ext cx="82296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4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srgbClr val="000000">
                    <a:tint val="75000"/>
                  </a:srgbClr>
                </a:solidFill>
                <a:uFillTx/>
                <a:latin typeface="Calibri"/>
              </a:defRPr>
            </a:lvl1pPr>
          </a:lstStyle>
          <a:p>
            <a:pPr>
              <a:defRPr/>
            </a:pPr>
            <a:fld id="{EA18DF81-277D-40F5-B089-A98306AE1746}" type="datetimeFigureOut">
              <a:rPr lang="en-US"/>
              <a:pPr>
                <a:defRPr/>
              </a:pPr>
              <a:t>8/8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4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srgbClr val="000000">
                    <a:tint val="75000"/>
                  </a:srgbClr>
                </a:solidFill>
                <a:uFillTx/>
                <a:latin typeface="Calibri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4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srgbClr val="000000">
                    <a:tint val="75000"/>
                  </a:srgbClr>
                </a:solidFill>
                <a:uFillTx/>
                <a:latin typeface="Calibri"/>
              </a:defRPr>
            </a:lvl1pPr>
          </a:lstStyle>
          <a:p>
            <a:pPr>
              <a:defRPr/>
            </a:pPr>
            <a:fld id="{1BA4DED2-A0C6-4679-8F00-09F19DF7593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7351062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19" r:id="rId3"/>
    <p:sldLayoutId id="2147483720" r:id="rId4"/>
    <p:sldLayoutId id="2147483721" r:id="rId5"/>
  </p:sldLayoutIdLst>
  <p:txStyles>
    <p:titleStyle>
      <a:lvl1pPr algn="ctr" defTabSz="342892" rtl="0" eaLnBrk="0" fontAlgn="base" hangingPunct="0"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342892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anose="020F0502020204030204" pitchFamily="34" charset="0"/>
        </a:defRPr>
      </a:lvl2pPr>
      <a:lvl3pPr algn="ctr" defTabSz="342892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anose="020F0502020204030204" pitchFamily="34" charset="0"/>
        </a:defRPr>
      </a:lvl3pPr>
      <a:lvl4pPr algn="ctr" defTabSz="342892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anose="020F0502020204030204" pitchFamily="34" charset="0"/>
        </a:defRPr>
      </a:lvl4pPr>
      <a:lvl5pPr algn="ctr" defTabSz="342892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anose="020F0502020204030204" pitchFamily="34" charset="0"/>
        </a:defRPr>
      </a:lvl5pPr>
      <a:lvl6pPr marL="342892" algn="ctr" defTabSz="342892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anose="020F0502020204030204" pitchFamily="34" charset="0"/>
        </a:defRPr>
      </a:lvl6pPr>
      <a:lvl7pPr marL="685783" algn="ctr" defTabSz="342892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anose="020F0502020204030204" pitchFamily="34" charset="0"/>
        </a:defRPr>
      </a:lvl7pPr>
      <a:lvl8pPr marL="1028675" algn="ctr" defTabSz="342892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anose="020F0502020204030204" pitchFamily="34" charset="0"/>
        </a:defRPr>
      </a:lvl8pPr>
      <a:lvl9pPr marL="1371566" algn="ctr" defTabSz="342892" rtl="0" fontAlgn="base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Calibri" panose="020F0502020204030204" pitchFamily="34" charset="0"/>
        </a:defRPr>
      </a:lvl9pPr>
    </p:titleStyle>
    <p:bodyStyle>
      <a:lvl1pPr marL="257168" indent="-257168" algn="l" defTabSz="342892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57199" indent="-214308" algn="l" defTabSz="342892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28" indent="-171446" algn="l" defTabSz="342892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20" indent="-171446" algn="l" defTabSz="342892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12" indent="-171446" algn="l" defTabSz="342892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03" indent="-171446" algn="l" defTabSz="342892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uFillTx/>
          <a:latin typeface="+mn-lt"/>
          <a:ea typeface="+mn-ea"/>
          <a:cs typeface="+mn-cs"/>
        </a:defRPr>
      </a:lvl6pPr>
      <a:lvl7pPr marL="2228795" indent="-171446" algn="l" defTabSz="342892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uFillTx/>
          <a:latin typeface="+mn-lt"/>
          <a:ea typeface="+mn-ea"/>
          <a:cs typeface="+mn-cs"/>
        </a:defRPr>
      </a:lvl7pPr>
      <a:lvl8pPr marL="2571686" indent="-171446" algn="l" defTabSz="342892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uFillTx/>
          <a:latin typeface="+mn-lt"/>
          <a:ea typeface="+mn-ea"/>
          <a:cs typeface="+mn-cs"/>
        </a:defRPr>
      </a:lvl8pPr>
      <a:lvl9pPr marL="2914577" indent="-171446" algn="l" defTabSz="342892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uFillTx/>
          <a:latin typeface="+mn-lt"/>
          <a:ea typeface="+mn-ea"/>
          <a:cs typeface="+mn-cs"/>
        </a:defRPr>
      </a:lvl9pPr>
    </p:bodyStyle>
    <p:otherStyle>
      <a:defPPr>
        <a:defRPr lang="en-US">
          <a:uFillTx/>
        </a:defRPr>
      </a:defPPr>
      <a:lvl1pPr marL="0" algn="l" defTabSz="342892" rtl="0" eaLnBrk="1" latinLnBrk="0" hangingPunct="1">
        <a:defRPr sz="1350" kern="1200">
          <a:solidFill>
            <a:schemeClr val="tx1"/>
          </a:solidFill>
          <a:uFillTx/>
          <a:latin typeface="+mn-lt"/>
          <a:ea typeface="+mn-ea"/>
          <a:cs typeface="+mn-cs"/>
        </a:defRPr>
      </a:lvl1pPr>
      <a:lvl2pPr marL="342892" algn="l" defTabSz="342892" rtl="0" eaLnBrk="1" latinLnBrk="0" hangingPunct="1">
        <a:defRPr sz="1350" kern="1200">
          <a:solidFill>
            <a:schemeClr val="tx1"/>
          </a:solidFill>
          <a:uFillTx/>
          <a:latin typeface="+mn-lt"/>
          <a:ea typeface="+mn-ea"/>
          <a:cs typeface="+mn-cs"/>
        </a:defRPr>
      </a:lvl2pPr>
      <a:lvl3pPr marL="685783" algn="l" defTabSz="342892" rtl="0" eaLnBrk="1" latinLnBrk="0" hangingPunct="1">
        <a:defRPr sz="1350" kern="1200">
          <a:solidFill>
            <a:schemeClr val="tx1"/>
          </a:solidFill>
          <a:uFillTx/>
          <a:latin typeface="+mn-lt"/>
          <a:ea typeface="+mn-ea"/>
          <a:cs typeface="+mn-cs"/>
        </a:defRPr>
      </a:lvl3pPr>
      <a:lvl4pPr marL="1028675" algn="l" defTabSz="342892" rtl="0" eaLnBrk="1" latinLnBrk="0" hangingPunct="1">
        <a:defRPr sz="1350" kern="1200">
          <a:solidFill>
            <a:schemeClr val="tx1"/>
          </a:solidFill>
          <a:uFillTx/>
          <a:latin typeface="+mn-lt"/>
          <a:ea typeface="+mn-ea"/>
          <a:cs typeface="+mn-cs"/>
        </a:defRPr>
      </a:lvl4pPr>
      <a:lvl5pPr marL="1371566" algn="l" defTabSz="342892" rtl="0" eaLnBrk="1" latinLnBrk="0" hangingPunct="1">
        <a:defRPr sz="1350" kern="1200">
          <a:solidFill>
            <a:schemeClr val="tx1"/>
          </a:solidFill>
          <a:uFillTx/>
          <a:latin typeface="+mn-lt"/>
          <a:ea typeface="+mn-ea"/>
          <a:cs typeface="+mn-cs"/>
        </a:defRPr>
      </a:lvl5pPr>
      <a:lvl6pPr marL="1714457" algn="l" defTabSz="342892" rtl="0" eaLnBrk="1" latinLnBrk="0" hangingPunct="1">
        <a:defRPr sz="1350" kern="1200">
          <a:solidFill>
            <a:schemeClr val="tx1"/>
          </a:solidFill>
          <a:uFillTx/>
          <a:latin typeface="+mn-lt"/>
          <a:ea typeface="+mn-ea"/>
          <a:cs typeface="+mn-cs"/>
        </a:defRPr>
      </a:lvl6pPr>
      <a:lvl7pPr marL="2057348" algn="l" defTabSz="342892" rtl="0" eaLnBrk="1" latinLnBrk="0" hangingPunct="1">
        <a:defRPr sz="1350" kern="1200">
          <a:solidFill>
            <a:schemeClr val="tx1"/>
          </a:solidFill>
          <a:uFillTx/>
          <a:latin typeface="+mn-lt"/>
          <a:ea typeface="+mn-ea"/>
          <a:cs typeface="+mn-cs"/>
        </a:defRPr>
      </a:lvl7pPr>
      <a:lvl8pPr marL="2400240" algn="l" defTabSz="342892" rtl="0" eaLnBrk="1" latinLnBrk="0" hangingPunct="1">
        <a:defRPr sz="1350" kern="1200">
          <a:solidFill>
            <a:schemeClr val="tx1"/>
          </a:solidFill>
          <a:uFillTx/>
          <a:latin typeface="+mn-lt"/>
          <a:ea typeface="+mn-ea"/>
          <a:cs typeface="+mn-cs"/>
        </a:defRPr>
      </a:lvl8pPr>
      <a:lvl9pPr marL="2743132" algn="l" defTabSz="342892" rtl="0" eaLnBrk="1" latinLnBrk="0" hangingPunct="1">
        <a:defRPr sz="1350" kern="1200">
          <a:solidFill>
            <a:schemeClr val="tx1"/>
          </a:solidFill>
          <a:uFillTx/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E8EBBB33-D8F2-49D5-8890-A54967D2D0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7801" y="228600"/>
            <a:ext cx="8755063" cy="401638"/>
          </a:xfrm>
          <a:prstGeom prst="rect">
            <a:avLst/>
          </a:prstGeom>
        </p:spPr>
        <p:txBody>
          <a:bodyPr vert="horz" lIns="91382" tIns="45689" rIns="91382" bIns="45689" rtlCol="0" anchor="t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F2A9F545-1F88-4253-803F-A3B5776E75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92139" y="1925638"/>
            <a:ext cx="7985125" cy="3968750"/>
          </a:xfrm>
          <a:prstGeom prst="rect">
            <a:avLst/>
          </a:prstGeom>
        </p:spPr>
        <p:txBody>
          <a:bodyPr vert="horz" lIns="91382" tIns="45689" rIns="91382" bIns="45689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xmlns="" val="1490937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4" r:id="rId2"/>
    <p:sldLayoutId id="2147483725" r:id="rId3"/>
    <p:sldLayoutId id="2147483726" r:id="rId4"/>
    <p:sldLayoutId id="2147483727" r:id="rId5"/>
    <p:sldLayoutId id="2147483728" r:id="rId6"/>
    <p:sldLayoutId id="2147483729" r:id="rId7"/>
    <p:sldLayoutId id="2147483730" r:id="rId8"/>
    <p:sldLayoutId id="2147483731" r:id="rId9"/>
    <p:sldLayoutId id="2147483732" r:id="rId10"/>
    <p:sldLayoutId id="2147483733" r:id="rId11"/>
    <p:sldLayoutId id="2147483734" r:id="rId12"/>
    <p:sldLayoutId id="2147483735" r:id="rId13"/>
    <p:sldLayoutId id="2147483736" r:id="rId14"/>
  </p:sldLayoutIdLst>
  <p:txStyles>
    <p:titleStyle>
      <a:lvl1pPr algn="l" defTabSz="341710" rtl="0" eaLnBrk="0" fontAlgn="base" hangingPunct="0">
        <a:lnSpc>
          <a:spcPct val="78000"/>
        </a:lnSpc>
        <a:spcBef>
          <a:spcPct val="0"/>
        </a:spcBef>
        <a:spcAft>
          <a:spcPct val="0"/>
        </a:spcAft>
        <a:defRPr sz="825" kern="1200" cap="all">
          <a:solidFill>
            <a:srgbClr val="262626"/>
          </a:solidFill>
          <a:latin typeface="Gotham Medium"/>
          <a:ea typeface="Gotham Medium"/>
          <a:cs typeface="Gotham Medium"/>
        </a:defRPr>
      </a:lvl1pPr>
      <a:lvl2pPr algn="l" defTabSz="341710" rtl="0" eaLnBrk="0" fontAlgn="base" hangingPunct="0">
        <a:lnSpc>
          <a:spcPct val="78000"/>
        </a:lnSpc>
        <a:spcBef>
          <a:spcPct val="0"/>
        </a:spcBef>
        <a:spcAft>
          <a:spcPct val="0"/>
        </a:spcAft>
        <a:defRPr sz="825">
          <a:solidFill>
            <a:srgbClr val="262626"/>
          </a:solidFill>
          <a:latin typeface="Gotham Medium"/>
          <a:ea typeface="Gotham Medium"/>
          <a:cs typeface="Gotham Medium"/>
        </a:defRPr>
      </a:lvl2pPr>
      <a:lvl3pPr algn="l" defTabSz="341710" rtl="0" eaLnBrk="0" fontAlgn="base" hangingPunct="0">
        <a:lnSpc>
          <a:spcPct val="78000"/>
        </a:lnSpc>
        <a:spcBef>
          <a:spcPct val="0"/>
        </a:spcBef>
        <a:spcAft>
          <a:spcPct val="0"/>
        </a:spcAft>
        <a:defRPr sz="825">
          <a:solidFill>
            <a:srgbClr val="262626"/>
          </a:solidFill>
          <a:latin typeface="Gotham Medium"/>
          <a:ea typeface="Gotham Medium"/>
          <a:cs typeface="Gotham Medium"/>
        </a:defRPr>
      </a:lvl3pPr>
      <a:lvl4pPr algn="l" defTabSz="341710" rtl="0" eaLnBrk="0" fontAlgn="base" hangingPunct="0">
        <a:lnSpc>
          <a:spcPct val="78000"/>
        </a:lnSpc>
        <a:spcBef>
          <a:spcPct val="0"/>
        </a:spcBef>
        <a:spcAft>
          <a:spcPct val="0"/>
        </a:spcAft>
        <a:defRPr sz="825">
          <a:solidFill>
            <a:srgbClr val="262626"/>
          </a:solidFill>
          <a:latin typeface="Gotham Medium"/>
          <a:ea typeface="Gotham Medium"/>
          <a:cs typeface="Gotham Medium"/>
        </a:defRPr>
      </a:lvl4pPr>
      <a:lvl5pPr algn="l" defTabSz="341710" rtl="0" eaLnBrk="0" fontAlgn="base" hangingPunct="0">
        <a:lnSpc>
          <a:spcPct val="78000"/>
        </a:lnSpc>
        <a:spcBef>
          <a:spcPct val="0"/>
        </a:spcBef>
        <a:spcAft>
          <a:spcPct val="0"/>
        </a:spcAft>
        <a:defRPr sz="825">
          <a:solidFill>
            <a:srgbClr val="262626"/>
          </a:solidFill>
          <a:latin typeface="Gotham Medium"/>
          <a:ea typeface="Gotham Medium"/>
          <a:cs typeface="Gotham Medium"/>
        </a:defRPr>
      </a:lvl5pPr>
      <a:lvl6pPr marL="342900" algn="l" defTabSz="341710" rtl="0" fontAlgn="base">
        <a:lnSpc>
          <a:spcPct val="78000"/>
        </a:lnSpc>
        <a:spcBef>
          <a:spcPct val="0"/>
        </a:spcBef>
        <a:spcAft>
          <a:spcPct val="0"/>
        </a:spcAft>
        <a:defRPr sz="825">
          <a:solidFill>
            <a:srgbClr val="262626"/>
          </a:solidFill>
          <a:latin typeface="Gotham Medium"/>
          <a:ea typeface="Gotham Medium"/>
          <a:cs typeface="Gotham Medium"/>
        </a:defRPr>
      </a:lvl6pPr>
      <a:lvl7pPr marL="685800" algn="l" defTabSz="341710" rtl="0" fontAlgn="base">
        <a:lnSpc>
          <a:spcPct val="78000"/>
        </a:lnSpc>
        <a:spcBef>
          <a:spcPct val="0"/>
        </a:spcBef>
        <a:spcAft>
          <a:spcPct val="0"/>
        </a:spcAft>
        <a:defRPr sz="825">
          <a:solidFill>
            <a:srgbClr val="262626"/>
          </a:solidFill>
          <a:latin typeface="Gotham Medium"/>
          <a:ea typeface="Gotham Medium"/>
          <a:cs typeface="Gotham Medium"/>
        </a:defRPr>
      </a:lvl7pPr>
      <a:lvl8pPr marL="1028700" algn="l" defTabSz="341710" rtl="0" fontAlgn="base">
        <a:lnSpc>
          <a:spcPct val="78000"/>
        </a:lnSpc>
        <a:spcBef>
          <a:spcPct val="0"/>
        </a:spcBef>
        <a:spcAft>
          <a:spcPct val="0"/>
        </a:spcAft>
        <a:defRPr sz="825">
          <a:solidFill>
            <a:srgbClr val="262626"/>
          </a:solidFill>
          <a:latin typeface="Gotham Medium"/>
          <a:ea typeface="Gotham Medium"/>
          <a:cs typeface="Gotham Medium"/>
        </a:defRPr>
      </a:lvl8pPr>
      <a:lvl9pPr marL="1371600" algn="l" defTabSz="341710" rtl="0" fontAlgn="base">
        <a:lnSpc>
          <a:spcPct val="78000"/>
        </a:lnSpc>
        <a:spcBef>
          <a:spcPct val="0"/>
        </a:spcBef>
        <a:spcAft>
          <a:spcPct val="0"/>
        </a:spcAft>
        <a:defRPr sz="825">
          <a:solidFill>
            <a:srgbClr val="262626"/>
          </a:solidFill>
          <a:latin typeface="Gotham Medium"/>
          <a:ea typeface="Gotham Medium"/>
          <a:cs typeface="Gotham Medium"/>
        </a:defRPr>
      </a:lvl9pPr>
    </p:titleStyle>
    <p:bodyStyle>
      <a:lvl1pPr marL="255985" indent="-255985" algn="l" defTabSz="341710" rtl="0" eaLnBrk="0" fontAlgn="base" hangingPunct="0">
        <a:spcBef>
          <a:spcPts val="1050"/>
        </a:spcBef>
        <a:spcAft>
          <a:spcPct val="0"/>
        </a:spcAft>
        <a:buSzPct val="100000"/>
        <a:buFont typeface="Lucida Grande"/>
        <a:buChar char="›"/>
        <a:defRPr sz="1800" kern="1200" spc="-38">
          <a:solidFill>
            <a:srgbClr val="262626"/>
          </a:solidFill>
          <a:latin typeface="Montserrat-Regular"/>
          <a:ea typeface="Montserrat-Regular"/>
          <a:cs typeface="Montserrat-Regular"/>
        </a:defRPr>
      </a:lvl1pPr>
      <a:lvl2pPr marL="556022" indent="-213122" algn="l" defTabSz="341710" rtl="0" eaLnBrk="0" fontAlgn="base" hangingPunct="0">
        <a:spcBef>
          <a:spcPts val="1050"/>
        </a:spcBef>
        <a:spcAft>
          <a:spcPct val="0"/>
        </a:spcAft>
        <a:buSzPct val="100000"/>
        <a:buFont typeface="Lucida Grande"/>
        <a:buChar char="›"/>
        <a:defRPr sz="1500" kern="1200" spc="-38">
          <a:solidFill>
            <a:srgbClr val="262626"/>
          </a:solidFill>
          <a:latin typeface="Montserrat-Regular"/>
          <a:ea typeface="Montserrat-Regular"/>
          <a:cs typeface="Montserrat-Regular"/>
        </a:defRPr>
      </a:lvl2pPr>
      <a:lvl3pPr marL="856060" indent="-170260" algn="l" defTabSz="341710" rtl="0" eaLnBrk="0" fontAlgn="base" hangingPunct="0">
        <a:spcBef>
          <a:spcPts val="1050"/>
        </a:spcBef>
        <a:spcAft>
          <a:spcPct val="0"/>
        </a:spcAft>
        <a:buSzPct val="100000"/>
        <a:buFont typeface="Lucida Grande"/>
        <a:buChar char="›"/>
        <a:defRPr kern="1200" spc="-38">
          <a:solidFill>
            <a:srgbClr val="262626"/>
          </a:solidFill>
          <a:latin typeface="Montserrat-Regular"/>
          <a:ea typeface="Montserrat-Regular"/>
          <a:cs typeface="Montserrat-Regular"/>
        </a:defRPr>
      </a:lvl3pPr>
      <a:lvl4pPr marL="1198960" indent="-170260" algn="l" defTabSz="341710" rtl="0" eaLnBrk="0" fontAlgn="base" hangingPunct="0">
        <a:spcBef>
          <a:spcPts val="1050"/>
        </a:spcBef>
        <a:spcAft>
          <a:spcPct val="0"/>
        </a:spcAft>
        <a:buFont typeface="Arial" panose="020B0604020202020204" pitchFamily="34" charset="0"/>
        <a:buChar char="–"/>
        <a:defRPr sz="1200" kern="1200" spc="-38">
          <a:solidFill>
            <a:srgbClr val="262626"/>
          </a:solidFill>
          <a:latin typeface="Montserrat-Regular"/>
          <a:ea typeface="Montserrat-Regular"/>
          <a:cs typeface="Montserrat-Regular"/>
        </a:defRPr>
      </a:lvl4pPr>
      <a:lvl5pPr marL="1541860" indent="-170260" algn="l" defTabSz="341710" rtl="0" eaLnBrk="0" fontAlgn="base" hangingPunct="0">
        <a:spcBef>
          <a:spcPts val="1050"/>
        </a:spcBef>
        <a:spcAft>
          <a:spcPct val="0"/>
        </a:spcAft>
        <a:buFont typeface="Arial" panose="020B0604020202020204" pitchFamily="34" charset="0"/>
        <a:buChar char="»"/>
        <a:defRPr sz="1200" kern="1200" spc="-38">
          <a:solidFill>
            <a:srgbClr val="262626"/>
          </a:solidFill>
          <a:latin typeface="Montserrat-Regular"/>
          <a:ea typeface="Montserrat-Regular"/>
          <a:cs typeface="Montserrat-Regular"/>
        </a:defRPr>
      </a:lvl5pPr>
      <a:lvl6pPr marL="1884745" indent="-171341" algn="l" defTabSz="342681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7427" indent="-171341" algn="l" defTabSz="342681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0107" indent="-171341" algn="l" defTabSz="342681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2789" indent="-171341" algn="l" defTabSz="342681" rtl="0" eaLnBrk="1" latinLnBrk="0" hangingPunct="1">
        <a:spcBef>
          <a:spcPct val="20000"/>
        </a:spcBef>
        <a:buFont typeface="Arial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4268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681" algn="l" defTabSz="34268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362" algn="l" defTabSz="34268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043" algn="l" defTabSz="34268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0724" algn="l" defTabSz="34268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3405" algn="l" defTabSz="34268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6086" algn="l" defTabSz="34268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398767" algn="l" defTabSz="34268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1448" algn="l" defTabSz="34268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ct 9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3577" name="think-cell Slide" r:id="rId34" imgW="270" imgH="270" progId="">
              <p:embed/>
            </p:oleObj>
          </a:graphicData>
        </a:graphic>
      </p:graphicFrame>
      <p:pic>
        <p:nvPicPr>
          <p:cNvPr id="3075" name="Picture 8"/>
          <p:cNvPicPr>
            <a:picLocks noChangeAspect="1"/>
          </p:cNvPicPr>
          <p:nvPr>
            <p:custDataLst>
              <p:tags r:id="rId28"/>
            </p:custDataLst>
          </p:nvPr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739775"/>
            <a:ext cx="9144000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6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 bwMode="auto">
          <a:xfrm>
            <a:off x="295275" y="180975"/>
            <a:ext cx="8597900" cy="558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72000" tIns="72000" rIns="72000" bIns="7200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US" altLang="en-US"/>
          </a:p>
        </p:txBody>
      </p:sp>
      <p:sp>
        <p:nvSpPr>
          <p:cNvPr id="3077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 bwMode="auto">
          <a:xfrm>
            <a:off x="295275" y="1196975"/>
            <a:ext cx="8597900" cy="4883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First Text Level</a:t>
            </a:r>
          </a:p>
          <a:p>
            <a:pPr lvl="1"/>
            <a:r>
              <a:rPr lang="en-US" altLang="en-US"/>
              <a:t>Second</a:t>
            </a:r>
          </a:p>
          <a:p>
            <a:pPr lvl="2"/>
            <a:r>
              <a:rPr lang="en-US" altLang="en-US"/>
              <a:t>Third</a:t>
            </a:r>
          </a:p>
          <a:p>
            <a:pPr lvl="3"/>
            <a:r>
              <a:rPr lang="en-US" altLang="en-US"/>
              <a:t>Fourth</a:t>
            </a:r>
          </a:p>
          <a:p>
            <a:pPr lvl="4"/>
            <a:r>
              <a:rPr lang="en-US" altLang="en-US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1"/>
            </p:custDataLst>
          </p:nvPr>
        </p:nvSpPr>
        <p:spPr>
          <a:xfrm>
            <a:off x="8378825" y="6467475"/>
            <a:ext cx="514350" cy="231775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 defTabSz="914400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srgbClr val="003399"/>
                </a:solidFill>
                <a:latin typeface="Century Gothic" pitchFamily="34" charset="0"/>
                <a:cs typeface="Arial" charset="0"/>
              </a:defRPr>
            </a:lvl1pPr>
          </a:lstStyle>
          <a:p>
            <a:pPr>
              <a:defRPr/>
            </a:pPr>
            <a:fld id="{F9434B72-4299-49BC-A7E4-97975F8FC07B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2"/>
            </p:custDataLst>
          </p:nvPr>
        </p:nvSpPr>
        <p:spPr>
          <a:xfrm>
            <a:off x="4043363" y="6467475"/>
            <a:ext cx="4138612" cy="231775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 defTabSz="914400" eaLnBrk="1" fontAlgn="auto" hangingPunct="1">
              <a:spcBef>
                <a:spcPts val="0"/>
              </a:spcBef>
              <a:spcAft>
                <a:spcPts val="0"/>
              </a:spcAft>
              <a:defRPr sz="800">
                <a:solidFill>
                  <a:srgbClr val="998F86"/>
                </a:solidFill>
                <a:latin typeface="Century Gothic"/>
                <a:cs typeface="Arial" charset="0"/>
              </a:defRPr>
            </a:lvl1pPr>
          </a:lstStyle>
          <a:p>
            <a:pPr>
              <a:defRPr/>
            </a:pPr>
            <a:r>
              <a:rPr lang="en-ZA"/>
              <a:t>Stocktake</a:t>
            </a:r>
            <a:endParaRPr lang="en-GB" dirty="0"/>
          </a:p>
        </p:txBody>
      </p:sp>
      <p:sp>
        <p:nvSpPr>
          <p:cNvPr id="3080" name="Rectangle 6"/>
          <p:cNvSpPr>
            <a:spLocks/>
          </p:cNvSpPr>
          <p:nvPr>
            <p:custDataLst>
              <p:tags r:id="rId33"/>
            </p:custDataLst>
          </p:nvPr>
        </p:nvSpPr>
        <p:spPr bwMode="auto">
          <a:xfrm>
            <a:off x="2060575" y="6467475"/>
            <a:ext cx="1944688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0" b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sz="800">
                <a:solidFill>
                  <a:srgbClr val="998F8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© Western Cape Government 2012  |</a:t>
            </a:r>
            <a:endParaRPr lang="en-GB" sz="800">
              <a:solidFill>
                <a:srgbClr val="998F86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081" name="Picture 107" descr="C:\Users\Conny\Desktop\WCG\WCG - Logo\PNG\Logos blue\WCG - Logo - General - Blue.png"/>
          <p:cNvPicPr>
            <a:picLocks noChangeAspect="1" noChangeArrowheads="1"/>
          </p:cNvPicPr>
          <p:nvPr/>
        </p:nvPicPr>
        <p:blipFill>
          <a:blip r:embed="rId3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4638" y="6148388"/>
            <a:ext cx="1108075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21557793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45" r:id="rId2"/>
    <p:sldLayoutId id="2147483746" r:id="rId3"/>
    <p:sldLayoutId id="2147483747" r:id="rId4"/>
    <p:sldLayoutId id="2147483748" r:id="rId5"/>
    <p:sldLayoutId id="2147483749" r:id="rId6"/>
    <p:sldLayoutId id="2147483750" r:id="rId7"/>
    <p:sldLayoutId id="2147483751" r:id="rId8"/>
    <p:sldLayoutId id="2147483752" r:id="rId9"/>
    <p:sldLayoutId id="2147483753" r:id="rId10"/>
    <p:sldLayoutId id="2147483754" r:id="rId11"/>
    <p:sldLayoutId id="2147483755" r:id="rId12"/>
    <p:sldLayoutId id="2147483756" r:id="rId13"/>
    <p:sldLayoutId id="2147483757" r:id="rId14"/>
    <p:sldLayoutId id="2147483758" r:id="rId15"/>
    <p:sldLayoutId id="2147483759" r:id="rId16"/>
    <p:sldLayoutId id="2147483760" r:id="rId17"/>
    <p:sldLayoutId id="2147483761" r:id="rId18"/>
    <p:sldLayoutId id="2147483762" r:id="rId19"/>
    <p:sldLayoutId id="2147483763" r:id="rId20"/>
    <p:sldLayoutId id="2147483764" r:id="rId21"/>
    <p:sldLayoutId id="2147483765" r:id="rId22"/>
    <p:sldLayoutId id="2147483766" r:id="rId23"/>
    <p:sldLayoutId id="2147483767" r:id="rId24"/>
    <p:sldLayoutId id="2147483768" r:id="rId25"/>
  </p:sldLayoutIdLst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entury Gothic" panose="020B0502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entury Gothic" panose="020B0502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entury Gothic" panose="020B0502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entury Gothic" panose="020B0502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entury Gothic" panose="020B0502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entury Gothic" panose="020B0502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entury Gothic" panose="020B0502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entury Gothic" panose="020B0502020202020204" pitchFamily="34" charset="0"/>
        </a:defRPr>
      </a:lvl9pPr>
    </p:titleStyle>
    <p:bodyStyle>
      <a:lvl1pPr algn="l" rtl="0" eaLnBrk="0" fontAlgn="base" hangingPunct="0">
        <a:spcBef>
          <a:spcPts val="300"/>
        </a:spcBef>
        <a:spcAft>
          <a:spcPct val="0"/>
        </a:spcAft>
        <a:buFont typeface="Arial" panose="020B0604020202020204" pitchFamily="34" charset="0"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79388" indent="-179388" algn="l" rtl="0" eaLnBrk="0" fontAlgn="base" hangingPunct="0">
        <a:spcBef>
          <a:spcPts val="300"/>
        </a:spcBef>
        <a:spcAft>
          <a:spcPct val="0"/>
        </a:spcAft>
        <a:buClr>
          <a:srgbClr val="002060"/>
        </a:buClr>
        <a:buBlip>
          <a:blip r:embed="rId37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58775" indent="-179388" algn="l" rtl="0" eaLnBrk="0" fontAlgn="base" hangingPunct="0">
        <a:spcBef>
          <a:spcPts val="300"/>
        </a:spcBef>
        <a:spcAft>
          <a:spcPct val="0"/>
        </a:spcAft>
        <a:buClr>
          <a:srgbClr val="998F86"/>
        </a:buClr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39750" indent="-179388" algn="l" rtl="0" eaLnBrk="0" fontAlgn="base" hangingPunct="0">
        <a:spcBef>
          <a:spcPts val="300"/>
        </a:spcBef>
        <a:spcAft>
          <a:spcPct val="0"/>
        </a:spcAft>
        <a:buClr>
          <a:srgbClr val="998F86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798638" indent="-1798638" algn="l" rtl="0" eaLnBrk="0" fontAlgn="base" hangingPunct="0">
        <a:spcBef>
          <a:spcPts val="300"/>
        </a:spcBef>
        <a:spcAft>
          <a:spcPct val="0"/>
        </a:spcAft>
        <a:buFont typeface="Arial" panose="020B0604020202020204" pitchFamily="34" charset="0"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602" name="Object 9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45081" name="think-cell Slide" r:id="rId33" imgW="270" imgH="270" progId="">
              <p:embed/>
            </p:oleObj>
          </a:graphicData>
        </a:graphic>
      </p:graphicFrame>
      <p:pic>
        <p:nvPicPr>
          <p:cNvPr id="25603" name="Picture 8"/>
          <p:cNvPicPr>
            <a:picLocks noChangeAspect="1"/>
          </p:cNvPicPr>
          <p:nvPr>
            <p:custDataLst>
              <p:tags r:id="rId27"/>
            </p:custDataLst>
          </p:nvPr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739775"/>
            <a:ext cx="9144000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604" name="Title Placeholder 1"/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 bwMode="auto">
          <a:xfrm>
            <a:off x="295275" y="180975"/>
            <a:ext cx="8597900" cy="558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72000" tIns="72000" rIns="72000" bIns="7200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US" altLang="en-US"/>
          </a:p>
        </p:txBody>
      </p:sp>
      <p:sp>
        <p:nvSpPr>
          <p:cNvPr id="25605" name="Text Placeholder 2"/>
          <p:cNvSpPr>
            <a:spLocks noGrp="1"/>
          </p:cNvSpPr>
          <p:nvPr>
            <p:ph type="body" idx="1"/>
            <p:custDataLst>
              <p:tags r:id="rId29"/>
            </p:custDataLst>
          </p:nvPr>
        </p:nvSpPr>
        <p:spPr bwMode="auto">
          <a:xfrm>
            <a:off x="295275" y="1196975"/>
            <a:ext cx="8597900" cy="4883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First Text Level</a:t>
            </a:r>
          </a:p>
          <a:p>
            <a:pPr lvl="1"/>
            <a:r>
              <a:rPr lang="en-US" altLang="en-US"/>
              <a:t>Second</a:t>
            </a:r>
          </a:p>
          <a:p>
            <a:pPr lvl="2"/>
            <a:r>
              <a:rPr lang="en-US" altLang="en-US"/>
              <a:t>Third</a:t>
            </a:r>
          </a:p>
          <a:p>
            <a:pPr lvl="3"/>
            <a:r>
              <a:rPr lang="en-US" altLang="en-US"/>
              <a:t>Fourth</a:t>
            </a:r>
          </a:p>
          <a:p>
            <a:pPr lvl="4"/>
            <a:r>
              <a:rPr lang="en-US" altLang="en-US"/>
              <a:t>Fifth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B71B2E0A-FD82-479A-AB62-EAC4697C0379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30"/>
            </p:custDataLst>
          </p:nvPr>
        </p:nvSpPr>
        <p:spPr>
          <a:xfrm>
            <a:off x="8378825" y="6467475"/>
            <a:ext cx="514350" cy="231775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 defTabSz="914400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srgbClr val="003399"/>
                </a:solidFill>
                <a:latin typeface="Century Gothic" pitchFamily="34" charset="0"/>
                <a:cs typeface="Arial" charset="0"/>
              </a:defRPr>
            </a:lvl1pPr>
          </a:lstStyle>
          <a:p>
            <a:pPr>
              <a:defRPr/>
            </a:pPr>
            <a:fld id="{877CB033-46BD-446A-AE50-4E8CD4E9E7A5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5F2A8F42-989F-43E2-B393-AD72BBB54FD1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31"/>
            </p:custDataLst>
          </p:nvPr>
        </p:nvSpPr>
        <p:spPr>
          <a:xfrm>
            <a:off x="4043363" y="6467475"/>
            <a:ext cx="4138612" cy="231775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 defTabSz="914400" eaLnBrk="1" fontAlgn="auto" hangingPunct="1">
              <a:spcBef>
                <a:spcPts val="0"/>
              </a:spcBef>
              <a:spcAft>
                <a:spcPts val="0"/>
              </a:spcAft>
              <a:defRPr sz="800">
                <a:solidFill>
                  <a:srgbClr val="998F86"/>
                </a:solidFill>
                <a:latin typeface="Century Gothic"/>
                <a:cs typeface="Arial" charset="0"/>
              </a:defRPr>
            </a:lvl1pPr>
          </a:lstStyle>
          <a:p>
            <a:pPr>
              <a:defRPr/>
            </a:pPr>
            <a:r>
              <a:rPr lang="en-ZA"/>
              <a:t>Stocktake</a:t>
            </a:r>
            <a:endParaRPr lang="en-GB" dirty="0"/>
          </a:p>
        </p:txBody>
      </p:sp>
      <p:sp>
        <p:nvSpPr>
          <p:cNvPr id="3080" name="Rectangle 6">
            <a:extLst>
              <a:ext uri="{FF2B5EF4-FFF2-40B4-BE49-F238E27FC236}">
                <a16:creationId xmlns:a16="http://schemas.microsoft.com/office/drawing/2014/main" xmlns="" id="{4F5EAF41-6481-42CB-9583-03E8F05DDB0F}"/>
              </a:ext>
            </a:extLst>
          </p:cNvPr>
          <p:cNvSpPr>
            <a:spLocks/>
          </p:cNvSpPr>
          <p:nvPr>
            <p:custDataLst>
              <p:tags r:id="rId32"/>
            </p:custDataLst>
          </p:nvPr>
        </p:nvSpPr>
        <p:spPr bwMode="auto">
          <a:xfrm>
            <a:off x="2060575" y="6467475"/>
            <a:ext cx="1944688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0" b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>
              <a:defRPr/>
            </a:pPr>
            <a:r>
              <a:rPr lang="en-US" sz="800">
                <a:solidFill>
                  <a:srgbClr val="998F86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© Western Cape Government 2012  |</a:t>
            </a:r>
            <a:endParaRPr lang="en-GB" sz="800">
              <a:solidFill>
                <a:srgbClr val="998F86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5609" name="Picture 107" descr="C:\Users\Conny\Desktop\WCG\WCG - Logo\PNG\Logos blue\WCG - Logo - General - Blue.png"/>
          <p:cNvPicPr>
            <a:picLocks noChangeAspect="1" noChangeArrowheads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4638" y="6148388"/>
            <a:ext cx="1108075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18230545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71" r:id="rId2"/>
    <p:sldLayoutId id="2147483772" r:id="rId3"/>
    <p:sldLayoutId id="2147483773" r:id="rId4"/>
    <p:sldLayoutId id="2147483774" r:id="rId5"/>
    <p:sldLayoutId id="2147483775" r:id="rId6"/>
    <p:sldLayoutId id="2147483776" r:id="rId7"/>
    <p:sldLayoutId id="2147483777" r:id="rId8"/>
    <p:sldLayoutId id="2147483778" r:id="rId9"/>
    <p:sldLayoutId id="2147483779" r:id="rId10"/>
    <p:sldLayoutId id="2147483780" r:id="rId11"/>
    <p:sldLayoutId id="2147483781" r:id="rId12"/>
    <p:sldLayoutId id="2147483782" r:id="rId13"/>
    <p:sldLayoutId id="2147483783" r:id="rId14"/>
    <p:sldLayoutId id="2147483784" r:id="rId15"/>
    <p:sldLayoutId id="2147483785" r:id="rId16"/>
    <p:sldLayoutId id="2147483786" r:id="rId17"/>
    <p:sldLayoutId id="2147483787" r:id="rId18"/>
    <p:sldLayoutId id="2147483788" r:id="rId19"/>
    <p:sldLayoutId id="2147483789" r:id="rId20"/>
    <p:sldLayoutId id="2147483790" r:id="rId21"/>
    <p:sldLayoutId id="2147483791" r:id="rId22"/>
    <p:sldLayoutId id="2147483792" r:id="rId23"/>
    <p:sldLayoutId id="2147483793" r:id="rId24"/>
  </p:sldLayoutIdLst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entury Gothic" panose="020B0502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entury Gothic" panose="020B0502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entury Gothic" panose="020B0502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entury Gothic" panose="020B0502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entury Gothic" panose="020B0502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entury Gothic" panose="020B0502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entury Gothic" panose="020B0502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entury Gothic" panose="020B0502020202020204" pitchFamily="34" charset="0"/>
        </a:defRPr>
      </a:lvl9pPr>
    </p:titleStyle>
    <p:bodyStyle>
      <a:lvl1pPr algn="l" rtl="0" eaLnBrk="0" fontAlgn="base" hangingPunct="0">
        <a:spcBef>
          <a:spcPts val="300"/>
        </a:spcBef>
        <a:spcAft>
          <a:spcPct val="0"/>
        </a:spcAft>
        <a:buFont typeface="Arial" panose="020B0604020202020204" pitchFamily="34" charset="0"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79388" indent="-179388" algn="l" rtl="0" eaLnBrk="0" fontAlgn="base" hangingPunct="0">
        <a:spcBef>
          <a:spcPts val="300"/>
        </a:spcBef>
        <a:spcAft>
          <a:spcPct val="0"/>
        </a:spcAft>
        <a:buClr>
          <a:srgbClr val="002060"/>
        </a:buClr>
        <a:buBlip>
          <a:blip r:embed="rId36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58775" indent="-179388" algn="l" rtl="0" eaLnBrk="0" fontAlgn="base" hangingPunct="0">
        <a:spcBef>
          <a:spcPts val="300"/>
        </a:spcBef>
        <a:spcAft>
          <a:spcPct val="0"/>
        </a:spcAft>
        <a:buClr>
          <a:srgbClr val="998F86"/>
        </a:buClr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39750" indent="-179388" algn="l" rtl="0" eaLnBrk="0" fontAlgn="base" hangingPunct="0">
        <a:spcBef>
          <a:spcPts val="300"/>
        </a:spcBef>
        <a:spcAft>
          <a:spcPct val="0"/>
        </a:spcAft>
        <a:buClr>
          <a:srgbClr val="998F86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798638" indent="-1798638" algn="l" rtl="0" eaLnBrk="0" fontAlgn="base" hangingPunct="0">
        <a:spcBef>
          <a:spcPts val="300"/>
        </a:spcBef>
        <a:spcAft>
          <a:spcPct val="0"/>
        </a:spcAft>
        <a:buFont typeface="Arial" panose="020B0604020202020204" pitchFamily="34" charset="0"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674" name="Object 9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6585" name="think-cell Slide" r:id="rId33" imgW="270" imgH="270" progId="">
              <p:embed/>
            </p:oleObj>
          </a:graphicData>
        </a:graphic>
      </p:graphicFrame>
      <p:pic>
        <p:nvPicPr>
          <p:cNvPr id="28675" name="Picture 8"/>
          <p:cNvPicPr>
            <a:picLocks noChangeAspect="1"/>
          </p:cNvPicPr>
          <p:nvPr>
            <p:custDataLst>
              <p:tags r:id="rId27"/>
            </p:custDataLst>
          </p:nvPr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739775"/>
            <a:ext cx="9144000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8676" name="Title Placeholder 1"/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 bwMode="auto">
          <a:xfrm>
            <a:off x="295275" y="180975"/>
            <a:ext cx="8597900" cy="558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72000" tIns="72000" rIns="72000" bIns="7200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US" altLang="en-US"/>
          </a:p>
        </p:txBody>
      </p:sp>
      <p:sp>
        <p:nvSpPr>
          <p:cNvPr id="28677" name="Text Placeholder 2"/>
          <p:cNvSpPr>
            <a:spLocks noGrp="1"/>
          </p:cNvSpPr>
          <p:nvPr>
            <p:ph type="body" idx="1"/>
            <p:custDataLst>
              <p:tags r:id="rId29"/>
            </p:custDataLst>
          </p:nvPr>
        </p:nvSpPr>
        <p:spPr bwMode="auto">
          <a:xfrm>
            <a:off x="295275" y="1196975"/>
            <a:ext cx="8597900" cy="4883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First Text Level</a:t>
            </a:r>
          </a:p>
          <a:p>
            <a:pPr lvl="1"/>
            <a:r>
              <a:rPr lang="en-US" altLang="en-US"/>
              <a:t>Second</a:t>
            </a:r>
          </a:p>
          <a:p>
            <a:pPr lvl="2"/>
            <a:r>
              <a:rPr lang="en-US" altLang="en-US"/>
              <a:t>Third</a:t>
            </a:r>
          </a:p>
          <a:p>
            <a:pPr lvl="3"/>
            <a:r>
              <a:rPr lang="en-US" altLang="en-US"/>
              <a:t>Fourth</a:t>
            </a:r>
          </a:p>
          <a:p>
            <a:pPr lvl="4"/>
            <a:r>
              <a:rPr lang="en-US" altLang="en-US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0"/>
            </p:custDataLst>
          </p:nvPr>
        </p:nvSpPr>
        <p:spPr>
          <a:xfrm>
            <a:off x="8378825" y="6467475"/>
            <a:ext cx="514350" cy="231775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 defTabSz="914400" fontAlgn="auto">
              <a:spcBef>
                <a:spcPts val="0"/>
              </a:spcBef>
              <a:spcAft>
                <a:spcPts val="0"/>
              </a:spcAft>
              <a:defRPr sz="900" smtClean="0">
                <a:solidFill>
                  <a:srgbClr val="003399"/>
                </a:solidFill>
                <a:latin typeface="Century Gothic" pitchFamily="34" charset="0"/>
              </a:defRPr>
            </a:lvl1pPr>
          </a:lstStyle>
          <a:p>
            <a:pPr>
              <a:defRPr/>
            </a:pPr>
            <a:fld id="{D3F47A5B-A220-45BA-91F5-CA4A0B05B28D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1"/>
            </p:custDataLst>
          </p:nvPr>
        </p:nvSpPr>
        <p:spPr>
          <a:xfrm>
            <a:off x="4043363" y="6467475"/>
            <a:ext cx="4138612" cy="231775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 defTabSz="914400" fontAlgn="auto">
              <a:spcBef>
                <a:spcPts val="0"/>
              </a:spcBef>
              <a:spcAft>
                <a:spcPts val="0"/>
              </a:spcAft>
              <a:defRPr sz="800">
                <a:solidFill>
                  <a:srgbClr val="998F86"/>
                </a:solidFill>
                <a:latin typeface="Century Gothic"/>
              </a:defRPr>
            </a:lvl1pPr>
          </a:lstStyle>
          <a:p>
            <a:pPr>
              <a:defRPr/>
            </a:pPr>
            <a:r>
              <a:rPr lang="en-ZA"/>
              <a:t>Political Steercom</a:t>
            </a:r>
            <a:endParaRPr lang="en-GB" dirty="0"/>
          </a:p>
        </p:txBody>
      </p:sp>
      <p:sp>
        <p:nvSpPr>
          <p:cNvPr id="28680" name="Rectangle 6"/>
          <p:cNvSpPr>
            <a:spLocks/>
          </p:cNvSpPr>
          <p:nvPr>
            <p:custDataLst>
              <p:tags r:id="rId32"/>
            </p:custDataLst>
          </p:nvPr>
        </p:nvSpPr>
        <p:spPr bwMode="auto">
          <a:xfrm>
            <a:off x="2060575" y="6467475"/>
            <a:ext cx="1944688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72000" tIns="72000" rIns="0" b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914400"/>
            <a:r>
              <a:rPr lang="en-US" altLang="en-US" sz="800">
                <a:solidFill>
                  <a:srgbClr val="998F86"/>
                </a:solidFill>
                <a:latin typeface="Century Gothic" panose="020B0502020202020204" pitchFamily="34" charset="0"/>
              </a:rPr>
              <a:t>© Western Cape Government 2012  |</a:t>
            </a:r>
            <a:endParaRPr lang="en-GB" altLang="en-US" sz="800">
              <a:solidFill>
                <a:srgbClr val="998F86"/>
              </a:solidFill>
              <a:latin typeface="Century Gothic" panose="020B0502020202020204" pitchFamily="34" charset="0"/>
            </a:endParaRPr>
          </a:p>
        </p:txBody>
      </p:sp>
      <p:pic>
        <p:nvPicPr>
          <p:cNvPr id="28681" name="Picture 107" descr="C:\Users\Conny\Desktop\WCG\WCG - Logo\PNG\Logos blue\WCG - Logo - General - Blue.png"/>
          <p:cNvPicPr>
            <a:picLocks noChangeAspect="1" noChangeArrowheads="1"/>
          </p:cNvPicPr>
          <p:nvPr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4638" y="6148388"/>
            <a:ext cx="1108075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39373757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5" r:id="rId1"/>
    <p:sldLayoutId id="2147483796" r:id="rId2"/>
    <p:sldLayoutId id="2147483797" r:id="rId3"/>
    <p:sldLayoutId id="2147483798" r:id="rId4"/>
    <p:sldLayoutId id="2147483799" r:id="rId5"/>
    <p:sldLayoutId id="2147483800" r:id="rId6"/>
    <p:sldLayoutId id="2147483801" r:id="rId7"/>
    <p:sldLayoutId id="2147483802" r:id="rId8"/>
    <p:sldLayoutId id="2147483803" r:id="rId9"/>
    <p:sldLayoutId id="2147483804" r:id="rId10"/>
    <p:sldLayoutId id="2147483805" r:id="rId11"/>
    <p:sldLayoutId id="2147483806" r:id="rId12"/>
    <p:sldLayoutId id="2147483807" r:id="rId13"/>
    <p:sldLayoutId id="2147483808" r:id="rId14"/>
    <p:sldLayoutId id="2147483809" r:id="rId15"/>
    <p:sldLayoutId id="2147483810" r:id="rId16"/>
    <p:sldLayoutId id="2147483811" r:id="rId17"/>
    <p:sldLayoutId id="2147483812" r:id="rId18"/>
    <p:sldLayoutId id="2147483813" r:id="rId19"/>
    <p:sldLayoutId id="2147483814" r:id="rId20"/>
    <p:sldLayoutId id="2147483815" r:id="rId21"/>
    <p:sldLayoutId id="2147483816" r:id="rId22"/>
    <p:sldLayoutId id="2147483817" r:id="rId23"/>
    <p:sldLayoutId id="2147483818" r:id="rId24"/>
  </p:sldLayoutIdLst>
  <p:hf sldNum="0" hdr="0" dt="0"/>
  <p:txStyles>
    <p:titleStyle>
      <a:lvl1pPr algn="l" rtl="0" fontAlgn="base">
        <a:spcBef>
          <a:spcPct val="0"/>
        </a:spcBef>
        <a:spcAft>
          <a:spcPct val="0"/>
        </a:spcAft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entury Gothic" panose="020B0502020202020204" pitchFamily="34" charset="0"/>
        </a:defRPr>
      </a:lvl2pPr>
      <a:lvl3pPr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entury Gothic" panose="020B0502020202020204" pitchFamily="34" charset="0"/>
        </a:defRPr>
      </a:lvl3pPr>
      <a:lvl4pPr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entury Gothic" panose="020B0502020202020204" pitchFamily="34" charset="0"/>
        </a:defRPr>
      </a:lvl4pPr>
      <a:lvl5pPr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entury Gothic" panose="020B0502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entury Gothic" panose="020B0502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entury Gothic" panose="020B0502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entury Gothic" panose="020B0502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Century Gothic" panose="020B0502020202020204" pitchFamily="34" charset="0"/>
        </a:defRPr>
      </a:lvl9pPr>
    </p:titleStyle>
    <p:bodyStyle>
      <a:lvl1pPr algn="l" rtl="0" fontAlgn="base">
        <a:spcBef>
          <a:spcPts val="300"/>
        </a:spcBef>
        <a:spcAft>
          <a:spcPct val="0"/>
        </a:spcAft>
        <a:buFont typeface="Arial" panose="020B0604020202020204" pitchFamily="34" charset="0"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79388" indent="-179388" algn="l" rtl="0" fontAlgn="base">
        <a:spcBef>
          <a:spcPts val="300"/>
        </a:spcBef>
        <a:spcAft>
          <a:spcPct val="0"/>
        </a:spcAft>
        <a:buClr>
          <a:srgbClr val="002060"/>
        </a:buClr>
        <a:buBlip>
          <a:blip r:embed="rId36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58775" indent="-179388" algn="l" rtl="0" fontAlgn="base">
        <a:spcBef>
          <a:spcPts val="300"/>
        </a:spcBef>
        <a:spcAft>
          <a:spcPct val="0"/>
        </a:spcAft>
        <a:buClr>
          <a:srgbClr val="998F86"/>
        </a:buClr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39750" indent="-179388" algn="l" rtl="0" fontAlgn="base">
        <a:spcBef>
          <a:spcPts val="300"/>
        </a:spcBef>
        <a:spcAft>
          <a:spcPct val="0"/>
        </a:spcAft>
        <a:buClr>
          <a:srgbClr val="998F86"/>
        </a:buClr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798638" indent="-1798638" algn="l" rtl="0" fontAlgn="base">
        <a:spcBef>
          <a:spcPts val="300"/>
        </a:spcBef>
        <a:spcAft>
          <a:spcPct val="0"/>
        </a:spcAft>
        <a:buFont typeface="Arial" panose="020B0604020202020204" pitchFamily="34" charset="0"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42" name="Object 9" hidden="1"/>
          <p:cNvGraphicFramePr>
            <a:graphicFrameLocks noChangeAspect="1"/>
          </p:cNvGraphicFramePr>
          <p:nvPr/>
        </p:nvGraphicFramePr>
        <p:xfrm>
          <a:off x="1" y="0"/>
          <a:ext cx="158750" cy="158750"/>
        </p:xfrm>
        <a:graphic>
          <a:graphicData uri="http://schemas.openxmlformats.org/presentationml/2006/ole">
            <p:oleObj spid="_x0000_s149523" name="think-cell Slide" r:id="rId36" imgW="270" imgH="270" progId="">
              <p:embed/>
            </p:oleObj>
          </a:graphicData>
        </a:graphic>
      </p:graphicFrame>
      <p:pic>
        <p:nvPicPr>
          <p:cNvPr id="10243" name="Picture 8"/>
          <p:cNvPicPr>
            <a:picLocks noChangeAspect="1"/>
          </p:cNvPicPr>
          <p:nvPr>
            <p:custDataLst>
              <p:tags r:id="rId30"/>
            </p:custDataLst>
          </p:nvPr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739777"/>
            <a:ext cx="9144000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44" name="Title Placeholder 1"/>
          <p:cNvSpPr>
            <a:spLocks noGrp="1"/>
          </p:cNvSpPr>
          <p:nvPr>
            <p:ph type="title"/>
            <p:custDataLst>
              <p:tags r:id="rId31"/>
            </p:custDataLst>
          </p:nvPr>
        </p:nvSpPr>
        <p:spPr bwMode="auto">
          <a:xfrm>
            <a:off x="295276" y="180975"/>
            <a:ext cx="8597900" cy="558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none" lIns="72000" tIns="72000" rIns="72000" bIns="7200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US" altLang="en-US"/>
          </a:p>
        </p:txBody>
      </p:sp>
      <p:sp>
        <p:nvSpPr>
          <p:cNvPr id="10245" name="Text Placeholder 2"/>
          <p:cNvSpPr>
            <a:spLocks noGrp="1"/>
          </p:cNvSpPr>
          <p:nvPr>
            <p:ph type="body" idx="1"/>
            <p:custDataLst>
              <p:tags r:id="rId32"/>
            </p:custDataLst>
          </p:nvPr>
        </p:nvSpPr>
        <p:spPr bwMode="auto">
          <a:xfrm>
            <a:off x="295276" y="1196975"/>
            <a:ext cx="8597900" cy="4883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2000" tIns="72000" rIns="72000" bIns="7200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First Text Level</a:t>
            </a:r>
          </a:p>
          <a:p>
            <a:pPr lvl="1"/>
            <a:r>
              <a:rPr lang="en-US" altLang="en-US"/>
              <a:t>Second</a:t>
            </a:r>
          </a:p>
          <a:p>
            <a:pPr lvl="2"/>
            <a:r>
              <a:rPr lang="en-US" altLang="en-US"/>
              <a:t>Third</a:t>
            </a:r>
          </a:p>
          <a:p>
            <a:pPr lvl="3"/>
            <a:r>
              <a:rPr lang="en-US" altLang="en-US"/>
              <a:t>Fourth</a:t>
            </a:r>
          </a:p>
          <a:p>
            <a:pPr lvl="4"/>
            <a:r>
              <a:rPr lang="en-US" altLang="en-US"/>
              <a:t>Fifth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41CFF657-9EB8-46DC-A6B6-0C952F74E351}"/>
              </a:ext>
            </a:extLst>
          </p:cNvPr>
          <p:cNvSpPr>
            <a:spLocks noGrp="1"/>
          </p:cNvSpPr>
          <p:nvPr>
            <p:ph type="sldNum" sz="quarter" idx="4"/>
            <p:custDataLst>
              <p:tags r:id="rId33"/>
            </p:custDataLst>
          </p:nvPr>
        </p:nvSpPr>
        <p:spPr>
          <a:xfrm>
            <a:off x="8378825" y="6467477"/>
            <a:ext cx="514350" cy="231775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 defTabSz="685800" fontAlgn="auto">
              <a:spcBef>
                <a:spcPts val="0"/>
              </a:spcBef>
              <a:spcAft>
                <a:spcPts val="0"/>
              </a:spcAft>
              <a:defRPr sz="675">
                <a:solidFill>
                  <a:srgbClr val="003399"/>
                </a:solidFill>
                <a:latin typeface="Century Gothic" pitchFamily="34" charset="0"/>
              </a:defRPr>
            </a:lvl1pPr>
          </a:lstStyle>
          <a:p>
            <a:pPr>
              <a:defRPr/>
            </a:pPr>
            <a:fld id="{1E23CEFE-D317-407C-AD67-057AEB4BC307}" type="slidenum">
              <a:rPr lang="en-ZA"/>
              <a:pPr>
                <a:defRPr/>
              </a:pPr>
              <a:t>‹#›</a:t>
            </a:fld>
            <a:endParaRPr lang="en-ZA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5DE77875-9AAD-4C47-9514-E4C31DD36177}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34"/>
            </p:custDataLst>
          </p:nvPr>
        </p:nvSpPr>
        <p:spPr>
          <a:xfrm>
            <a:off x="4043364" y="6467477"/>
            <a:ext cx="4138612" cy="231775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 defTabSz="685800" fontAlgn="auto">
              <a:spcBef>
                <a:spcPts val="0"/>
              </a:spcBef>
              <a:spcAft>
                <a:spcPts val="0"/>
              </a:spcAft>
              <a:defRPr sz="600">
                <a:solidFill>
                  <a:srgbClr val="998F86"/>
                </a:solidFill>
                <a:latin typeface="Century Gothic"/>
              </a:defRPr>
            </a:lvl1pPr>
          </a:lstStyle>
          <a:p>
            <a:pPr>
              <a:defRPr/>
            </a:pPr>
            <a:r>
              <a:rPr lang="en-ZA"/>
              <a:t>Stocktake</a:t>
            </a:r>
            <a:endParaRPr lang="en-GB" dirty="0"/>
          </a:p>
        </p:txBody>
      </p:sp>
      <p:sp>
        <p:nvSpPr>
          <p:cNvPr id="11272" name="Rectangle 6">
            <a:extLst>
              <a:ext uri="{FF2B5EF4-FFF2-40B4-BE49-F238E27FC236}">
                <a16:creationId xmlns:a16="http://schemas.microsoft.com/office/drawing/2014/main" xmlns="" id="{D8A67EF5-3F63-4E25-8B0B-802A0C335918}"/>
              </a:ext>
            </a:extLst>
          </p:cNvPr>
          <p:cNvSpPr>
            <a:spLocks/>
          </p:cNvSpPr>
          <p:nvPr>
            <p:custDataLst>
              <p:tags r:id="rId35"/>
            </p:custDataLst>
          </p:nvPr>
        </p:nvSpPr>
        <p:spPr bwMode="auto">
          <a:xfrm>
            <a:off x="2060576" y="6467477"/>
            <a:ext cx="1944688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54000" tIns="54000" rIns="0" bIns="0" anchor="b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685800">
              <a:defRPr/>
            </a:pPr>
            <a:r>
              <a:rPr lang="en-US" altLang="en-US" sz="600">
                <a:solidFill>
                  <a:srgbClr val="998F86"/>
                </a:solidFill>
                <a:latin typeface="Century Gothic" panose="020B0502020202020204" pitchFamily="34" charset="0"/>
              </a:rPr>
              <a:t>© Western Cape Government 2012  |</a:t>
            </a:r>
            <a:endParaRPr lang="en-GB" altLang="en-US" sz="600">
              <a:solidFill>
                <a:srgbClr val="998F86"/>
              </a:solidFill>
              <a:latin typeface="Century Gothic" panose="020B0502020202020204" pitchFamily="34" charset="0"/>
            </a:endParaRPr>
          </a:p>
        </p:txBody>
      </p:sp>
      <p:pic>
        <p:nvPicPr>
          <p:cNvPr id="10249" name="Picture 107" descr="C:\Users\Conny\Desktop\WCG\WCG - Logo\PNG\Logos blue\WCG - Logo - General - Blue.png"/>
          <p:cNvPicPr>
            <a:picLocks noChangeAspect="1" noChangeArrowheads="1"/>
          </p:cNvPicPr>
          <p:nvPr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74639" y="6148388"/>
            <a:ext cx="1108075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32754077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6" r:id="rId1"/>
    <p:sldLayoutId id="2147483847" r:id="rId2"/>
    <p:sldLayoutId id="2147483848" r:id="rId3"/>
    <p:sldLayoutId id="2147483849" r:id="rId4"/>
    <p:sldLayoutId id="2147483850" r:id="rId5"/>
    <p:sldLayoutId id="2147483851" r:id="rId6"/>
    <p:sldLayoutId id="2147483852" r:id="rId7"/>
    <p:sldLayoutId id="2147483853" r:id="rId8"/>
    <p:sldLayoutId id="2147483854" r:id="rId9"/>
    <p:sldLayoutId id="2147483855" r:id="rId10"/>
    <p:sldLayoutId id="2147483856" r:id="rId11"/>
    <p:sldLayoutId id="2147483857" r:id="rId12"/>
    <p:sldLayoutId id="2147483858" r:id="rId13"/>
    <p:sldLayoutId id="2147483859" r:id="rId14"/>
    <p:sldLayoutId id="2147483860" r:id="rId15"/>
    <p:sldLayoutId id="2147483861" r:id="rId16"/>
    <p:sldLayoutId id="2147483862" r:id="rId17"/>
    <p:sldLayoutId id="2147483863" r:id="rId18"/>
    <p:sldLayoutId id="2147483864" r:id="rId19"/>
    <p:sldLayoutId id="2147483865" r:id="rId20"/>
    <p:sldLayoutId id="2147483866" r:id="rId21"/>
    <p:sldLayoutId id="2147483867" r:id="rId22"/>
    <p:sldLayoutId id="2147483868" r:id="rId23"/>
    <p:sldLayoutId id="2147483869" r:id="rId24"/>
    <p:sldLayoutId id="2147483870" r:id="rId25"/>
    <p:sldLayoutId id="2147483871" r:id="rId26"/>
    <p:sldLayoutId id="2147483872" r:id="rId27"/>
  </p:sldLayoutIdLst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8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Century Gothic" panose="020B0502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Century Gothic" panose="020B0502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Century Gothic" panose="020B0502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Century Gothic" panose="020B0502020202020204" pitchFamily="34" charset="0"/>
        </a:defRPr>
      </a:lvl5pPr>
      <a:lvl6pPr marL="342900" algn="l" rtl="0" fontAlgn="base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Century Gothic" panose="020B0502020202020204" pitchFamily="34" charset="0"/>
        </a:defRPr>
      </a:lvl6pPr>
      <a:lvl7pPr marL="685800" algn="l" rtl="0" fontAlgn="base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Century Gothic" panose="020B0502020202020204" pitchFamily="34" charset="0"/>
        </a:defRPr>
      </a:lvl7pPr>
      <a:lvl8pPr marL="1028700" algn="l" rtl="0" fontAlgn="base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Century Gothic" panose="020B0502020202020204" pitchFamily="34" charset="0"/>
        </a:defRPr>
      </a:lvl8pPr>
      <a:lvl9pPr marL="1371600" algn="l" rtl="0" fontAlgn="base">
        <a:spcBef>
          <a:spcPct val="0"/>
        </a:spcBef>
        <a:spcAft>
          <a:spcPct val="0"/>
        </a:spcAft>
        <a:defRPr sz="1800" b="1">
          <a:solidFill>
            <a:schemeClr val="tx2"/>
          </a:solidFill>
          <a:latin typeface="Century Gothic" panose="020B0502020202020204" pitchFamily="34" charset="0"/>
        </a:defRPr>
      </a:lvl9pPr>
    </p:titleStyle>
    <p:bodyStyle>
      <a:lvl1pPr algn="l" rtl="0" eaLnBrk="0" fontAlgn="base" hangingPunct="0">
        <a:spcBef>
          <a:spcPts val="225"/>
        </a:spcBef>
        <a:spcAft>
          <a:spcPct val="0"/>
        </a:spcAft>
        <a:buFont typeface="Arial" panose="020B0604020202020204" pitchFamily="34" charset="0"/>
        <a:defRPr sz="12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34541" indent="-134541" algn="l" rtl="0" eaLnBrk="0" fontAlgn="base" hangingPunct="0">
        <a:spcBef>
          <a:spcPts val="225"/>
        </a:spcBef>
        <a:spcAft>
          <a:spcPct val="0"/>
        </a:spcAft>
        <a:buClr>
          <a:srgbClr val="002060"/>
        </a:buClr>
        <a:buBlip>
          <a:blip r:embed="rId39"/>
        </a:buBlip>
        <a:defRPr sz="12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269081" indent="-134541" algn="l" rtl="0" eaLnBrk="0" fontAlgn="base" hangingPunct="0">
        <a:spcBef>
          <a:spcPts val="225"/>
        </a:spcBef>
        <a:spcAft>
          <a:spcPct val="0"/>
        </a:spcAft>
        <a:buClr>
          <a:srgbClr val="998F86"/>
        </a:buClr>
        <a:buFont typeface="Arial" panose="020B0604020202020204" pitchFamily="34" charset="0"/>
        <a:buChar char="•"/>
        <a:defRPr lang="en-US" sz="1200" kern="1200" dirty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404813" indent="-134541" algn="l" rtl="0" eaLnBrk="0" fontAlgn="base" hangingPunct="0">
        <a:spcBef>
          <a:spcPts val="225"/>
        </a:spcBef>
        <a:spcAft>
          <a:spcPct val="0"/>
        </a:spcAft>
        <a:buClr>
          <a:srgbClr val="998F86"/>
        </a:buClr>
        <a:buFont typeface="Arial" panose="020B0604020202020204" pitchFamily="34" charset="0"/>
        <a:buChar char="–"/>
        <a:defRPr sz="12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348979" indent="-1348979" algn="l" rtl="0" eaLnBrk="0" fontAlgn="base" hangingPunct="0">
        <a:spcBef>
          <a:spcPts val="225"/>
        </a:spcBef>
        <a:spcAft>
          <a:spcPct val="0"/>
        </a:spcAft>
        <a:buFont typeface="Arial" panose="020B0604020202020204" pitchFamily="34" charset="0"/>
        <a:defRPr sz="1200" kern="1200">
          <a:solidFill>
            <a:schemeClr val="tx2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1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8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98.xml"/><Relationship Id="rId4" Type="http://schemas.openxmlformats.org/officeDocument/2006/relationships/image" Target="../media/image2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98.xml"/><Relationship Id="rId4" Type="http://schemas.openxmlformats.org/officeDocument/2006/relationships/image" Target="../media/image2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98.xml"/><Relationship Id="rId4" Type="http://schemas.openxmlformats.org/officeDocument/2006/relationships/image" Target="../media/image3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98.xml"/><Relationship Id="rId4" Type="http://schemas.openxmlformats.org/officeDocument/2006/relationships/image" Target="../media/image28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98.xml"/><Relationship Id="rId6" Type="http://schemas.openxmlformats.org/officeDocument/2006/relationships/image" Target="../media/image39.png"/><Relationship Id="rId5" Type="http://schemas.openxmlformats.org/officeDocument/2006/relationships/image" Target="../media/image38.jpeg"/><Relationship Id="rId4" Type="http://schemas.openxmlformats.org/officeDocument/2006/relationships/image" Target="../media/image28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jpeg"/><Relationship Id="rId3" Type="http://schemas.openxmlformats.org/officeDocument/2006/relationships/image" Target="../media/image40.png"/><Relationship Id="rId7" Type="http://schemas.openxmlformats.org/officeDocument/2006/relationships/image" Target="../media/image44.jpeg"/><Relationship Id="rId12" Type="http://schemas.openxmlformats.org/officeDocument/2006/relationships/image" Target="../media/image48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0.xml"/><Relationship Id="rId6" Type="http://schemas.openxmlformats.org/officeDocument/2006/relationships/image" Target="../media/image43.jpeg"/><Relationship Id="rId11" Type="http://schemas.openxmlformats.org/officeDocument/2006/relationships/image" Target="../media/image39.png"/><Relationship Id="rId5" Type="http://schemas.openxmlformats.org/officeDocument/2006/relationships/image" Target="../media/image42.png"/><Relationship Id="rId10" Type="http://schemas.openxmlformats.org/officeDocument/2006/relationships/image" Target="../media/image47.jpeg"/><Relationship Id="rId4" Type="http://schemas.openxmlformats.org/officeDocument/2006/relationships/image" Target="../media/image41.jpeg"/><Relationship Id="rId9" Type="http://schemas.openxmlformats.org/officeDocument/2006/relationships/image" Target="../media/image46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png"/><Relationship Id="rId3" Type="http://schemas.openxmlformats.org/officeDocument/2006/relationships/image" Target="../media/image2.png"/><Relationship Id="rId7" Type="http://schemas.openxmlformats.org/officeDocument/2006/relationships/image" Target="../media/image53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2.png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59.xml"/><Relationship Id="rId4" Type="http://schemas.openxmlformats.org/officeDocument/2006/relationships/image" Target="../media/image24.pn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8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8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8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7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54.xml"/><Relationship Id="rId4" Type="http://schemas.openxmlformats.org/officeDocument/2006/relationships/image" Target="../media/image28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2.xml"/><Relationship Id="rId13" Type="http://schemas.openxmlformats.org/officeDocument/2006/relationships/diagramData" Target="../diagrams/data3.xml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12" Type="http://schemas.microsoft.com/office/2007/relationships/diagramDrawing" Target="../diagrams/drawing2.xml"/><Relationship Id="rId17" Type="http://schemas.microsoft.com/office/2007/relationships/diagramDrawing" Target="../diagrams/drawing3.xml"/><Relationship Id="rId2" Type="http://schemas.openxmlformats.org/officeDocument/2006/relationships/notesSlide" Target="../notesSlides/notesSlide1.xml"/><Relationship Id="rId16" Type="http://schemas.openxmlformats.org/officeDocument/2006/relationships/diagramColors" Target="../diagrams/colors3.xml"/><Relationship Id="rId1" Type="http://schemas.openxmlformats.org/officeDocument/2006/relationships/slideLayout" Target="../slideLayouts/slideLayout9.xml"/><Relationship Id="rId6" Type="http://schemas.openxmlformats.org/officeDocument/2006/relationships/diagramColors" Target="../diagrams/colors1.xml"/><Relationship Id="rId11" Type="http://schemas.openxmlformats.org/officeDocument/2006/relationships/diagramColors" Target="../diagrams/colors2.xml"/><Relationship Id="rId5" Type="http://schemas.openxmlformats.org/officeDocument/2006/relationships/diagramQuickStyle" Target="../diagrams/quickStyle1.xml"/><Relationship Id="rId15" Type="http://schemas.openxmlformats.org/officeDocument/2006/relationships/diagramQuickStyle" Target="../diagrams/quickStyle3.xml"/><Relationship Id="rId10" Type="http://schemas.openxmlformats.org/officeDocument/2006/relationships/diagramQuickStyle" Target="../diagrams/quickStyle2.xml"/><Relationship Id="rId4" Type="http://schemas.openxmlformats.org/officeDocument/2006/relationships/diagramLayout" Target="../diagrams/layout1.xml"/><Relationship Id="rId9" Type="http://schemas.openxmlformats.org/officeDocument/2006/relationships/diagramLayout" Target="../diagrams/layout2.xml"/><Relationship Id="rId14" Type="http://schemas.openxmlformats.org/officeDocument/2006/relationships/diagramLayout" Target="../diagrams/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54.xml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54.xml"/><Relationship Id="rId6" Type="http://schemas.openxmlformats.org/officeDocument/2006/relationships/image" Target="../media/image31.png"/><Relationship Id="rId5" Type="http://schemas.openxmlformats.org/officeDocument/2006/relationships/image" Target="../media/image32.png"/><Relationship Id="rId4" Type="http://schemas.openxmlformats.org/officeDocument/2006/relationships/image" Target="../media/image30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9144000" h="6858000">
                <a:moveTo>
                  <a:pt x="0" y="6858000"/>
                </a:moveTo>
                <a:lnTo>
                  <a:pt x="9144000" y="6858000"/>
                </a:lnTo>
                <a:lnTo>
                  <a:pt x="9144000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solidFill>
            <a:srgbClr val="00339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/>
          <p:nvPr/>
        </p:nvSpPr>
        <p:spPr>
          <a:xfrm>
            <a:off x="0" y="2586227"/>
            <a:ext cx="9144000" cy="492251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355091" y="382524"/>
            <a:ext cx="5399532" cy="157581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 txBox="1"/>
          <p:nvPr/>
        </p:nvSpPr>
        <p:spPr>
          <a:xfrm>
            <a:off x="4883277" y="3499230"/>
            <a:ext cx="3315335" cy="44307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 marL="208915" marR="198755" indent="-106045" algn="ctr">
              <a:lnSpc>
                <a:spcPct val="100000"/>
              </a:lnSpc>
              <a:spcBef>
                <a:spcPts val="95"/>
              </a:spcBef>
            </a:pPr>
            <a:r>
              <a:rPr sz="2800" b="1" spc="-5" dirty="0" err="1">
                <a:solidFill>
                  <a:srgbClr val="FFFFFF"/>
                </a:solidFill>
                <a:latin typeface="Century Gothic"/>
                <a:cs typeface="Century Gothic"/>
              </a:rPr>
              <a:t>eLEARNING</a:t>
            </a:r>
            <a:endParaRPr sz="2800" dirty="0">
              <a:latin typeface="Century Gothic"/>
              <a:cs typeface="Century Gothic"/>
            </a:endParaRPr>
          </a:p>
        </p:txBody>
      </p:sp>
      <p:sp>
        <p:nvSpPr>
          <p:cNvPr id="6" name="object 6"/>
          <p:cNvSpPr txBox="1"/>
          <p:nvPr/>
        </p:nvSpPr>
        <p:spPr>
          <a:xfrm>
            <a:off x="5578221" y="5097526"/>
            <a:ext cx="1924685" cy="320601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lang="en-US" sz="2000">
                <a:solidFill>
                  <a:srgbClr val="FFFFFF"/>
                </a:solidFill>
                <a:latin typeface="Century Gothic"/>
                <a:cs typeface="Century Gothic"/>
              </a:rPr>
              <a:t>6 </a:t>
            </a:r>
            <a:r>
              <a:rPr lang="en-US" sz="2000" dirty="0">
                <a:solidFill>
                  <a:srgbClr val="FFFFFF"/>
                </a:solidFill>
                <a:latin typeface="Century Gothic"/>
                <a:cs typeface="Century Gothic"/>
              </a:rPr>
              <a:t>August 2019 </a:t>
            </a:r>
            <a:endParaRPr sz="2000" dirty="0">
              <a:latin typeface="Century Gothic"/>
              <a:cs typeface="Century Gothic"/>
            </a:endParaRPr>
          </a:p>
        </p:txBody>
      </p:sp>
      <p:sp>
        <p:nvSpPr>
          <p:cNvPr id="7" name="object 7"/>
          <p:cNvSpPr txBox="1"/>
          <p:nvPr/>
        </p:nvSpPr>
        <p:spPr>
          <a:xfrm>
            <a:off x="5322189" y="5758667"/>
            <a:ext cx="2439670" cy="273921"/>
          </a:xfrm>
          <a:prstGeom prst="rect">
            <a:avLst/>
          </a:prstGeom>
        </p:spPr>
        <p:txBody>
          <a:bodyPr vert="horz" wrap="square" lIns="0" tIns="15875" rIns="0" bIns="0" rtlCol="0">
            <a:spAutoFit/>
          </a:bodyPr>
          <a:lstStyle/>
          <a:p>
            <a:pPr marL="12700" marR="5080" algn="ctr">
              <a:lnSpc>
                <a:spcPct val="114700"/>
              </a:lnSpc>
              <a:spcBef>
                <a:spcPts val="125"/>
              </a:spcBef>
            </a:pPr>
            <a:r>
              <a:rPr sz="1600" spc="-15" dirty="0">
                <a:solidFill>
                  <a:srgbClr val="FFFFFF"/>
                </a:solidFill>
                <a:latin typeface="Century Gothic"/>
                <a:cs typeface="Century Gothic"/>
              </a:rPr>
              <a:t>WCED: </a:t>
            </a:r>
            <a:r>
              <a:rPr sz="1600" spc="-5" dirty="0">
                <a:solidFill>
                  <a:srgbClr val="FFFFFF"/>
                </a:solidFill>
                <a:latin typeface="Century Gothic"/>
                <a:cs typeface="Century Gothic"/>
              </a:rPr>
              <a:t>Clinton </a:t>
            </a:r>
            <a:r>
              <a:rPr sz="1600" spc="-10" dirty="0">
                <a:solidFill>
                  <a:srgbClr val="FFFFFF"/>
                </a:solidFill>
                <a:latin typeface="Century Gothic"/>
                <a:cs typeface="Century Gothic"/>
              </a:rPr>
              <a:t>Walker</a:t>
            </a:r>
            <a:endParaRPr sz="1600" dirty="0">
              <a:latin typeface="Century Gothic"/>
              <a:cs typeface="Century Gothic"/>
            </a:endParaRPr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-1" y="2970960"/>
            <a:ext cx="3937127" cy="3866258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5922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-744538" y="739775"/>
            <a:ext cx="10472738" cy="6018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65923" name="Picture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95288" y="846138"/>
            <a:ext cx="8748712" cy="79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3588" name="Title 1"/>
          <p:cNvSpPr txBox="1">
            <a:spLocks/>
          </p:cNvSpPr>
          <p:nvPr/>
        </p:nvSpPr>
        <p:spPr bwMode="auto">
          <a:xfrm>
            <a:off x="295275" y="180975"/>
            <a:ext cx="8597900" cy="558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alt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anose="020B0502020202020204" pitchFamily="34" charset="0"/>
              </a:rPr>
              <a:t>To date: Infrastructure to schools</a:t>
            </a:r>
          </a:p>
        </p:txBody>
      </p:sp>
      <p:pic>
        <p:nvPicPr>
          <p:cNvPr id="465925" name="Picture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2700" y="4149725"/>
            <a:ext cx="9144000" cy="2397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xmlns="" id="{9AC3AD82-4475-4FA5-99E0-45084B5CA7E3}"/>
              </a:ext>
            </a:extLst>
          </p:cNvPr>
          <p:cNvSpPr txBox="1"/>
          <p:nvPr/>
        </p:nvSpPr>
        <p:spPr>
          <a:xfrm>
            <a:off x="12701" y="4271963"/>
            <a:ext cx="4025900" cy="267765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Target: 1 500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+ schools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To date </a:t>
            </a: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</a:rPr>
              <a:t>1 273 </a:t>
            </a:r>
            <a:r>
              <a:rPr kumimoji="0" lang="en-US" sz="15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schools on WCG WAN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342900" marR="0" lvl="0" indent="-34290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573 on 100mbps</a:t>
            </a:r>
          </a:p>
          <a:p>
            <a:pPr marL="342900" marR="0" lvl="0" indent="-34290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</a:t>
            </a:r>
            <a:r>
              <a:rPr lang="en-US" sz="1600" kern="0" dirty="0">
                <a:solidFill>
                  <a:sysClr val="windowText" lastClr="000000"/>
                </a:solidFill>
              </a:rPr>
              <a:t>45 scoped for next phase</a:t>
            </a:r>
          </a:p>
          <a:p>
            <a:pPr marL="342900" marR="0" lvl="0" indent="-342900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600" kern="0" dirty="0">
                <a:solidFill>
                  <a:sysClr val="windowText" lastClr="000000"/>
                </a:solidFill>
              </a:rPr>
              <a:t> 191 scoped for alternative/s</a:t>
            </a:r>
          </a:p>
          <a:p>
            <a:pPr marL="0" marR="0" lvl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CD902DB9-B9B5-436E-859A-C8E971F70582}"/>
              </a:ext>
            </a:extLst>
          </p:cNvPr>
          <p:cNvSpPr txBox="1"/>
          <p:nvPr/>
        </p:nvSpPr>
        <p:spPr>
          <a:xfrm>
            <a:off x="4927600" y="4348163"/>
            <a:ext cx="3965575" cy="258532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Target: 1500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+ schools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To date </a:t>
            </a: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</a:rPr>
              <a:t>490</a:t>
            </a: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connected to full Wi-Fi LAN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By end 2019 – </a:t>
            </a: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560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target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Also, 759 have Mini </a:t>
            </a:r>
            <a:r>
              <a: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Wi-fi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LANs to access Broadband</a:t>
            </a:r>
            <a:endParaRPr lang="en-US" sz="1600" kern="0" noProof="0" dirty="0">
              <a:solidFill>
                <a:sysClr val="windowText" lastClr="000000"/>
              </a:solidFill>
            </a:endParaRPr>
          </a:p>
          <a:p>
            <a:pPr marR="0" lvl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9988289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7970" name="Picture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-315913" y="474663"/>
            <a:ext cx="9753601" cy="6199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67971" name="Picture 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95288" y="846138"/>
            <a:ext cx="8748712" cy="79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5636" name="Title 1"/>
          <p:cNvSpPr txBox="1">
            <a:spLocks/>
          </p:cNvSpPr>
          <p:nvPr/>
        </p:nvSpPr>
        <p:spPr bwMode="auto">
          <a:xfrm>
            <a:off x="295275" y="180975"/>
            <a:ext cx="8597900" cy="558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altLang="en-US" sz="2800" b="1" i="0" u="none" strike="noStrike" kern="0" cap="none" spc="0" normalizeH="0" baseline="0" noProof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anose="020B0502020202020204" pitchFamily="34" charset="0"/>
              </a:rPr>
              <a:t>Technology in the classroom</a:t>
            </a:r>
          </a:p>
        </p:txBody>
      </p:sp>
      <p:pic>
        <p:nvPicPr>
          <p:cNvPr id="467973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0800" y="4116388"/>
            <a:ext cx="9144000" cy="2398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6DF0CEB4-9BAF-4B9D-BB00-5F550B363B11}"/>
              </a:ext>
            </a:extLst>
          </p:cNvPr>
          <p:cNvSpPr txBox="1"/>
          <p:nvPr/>
        </p:nvSpPr>
        <p:spPr>
          <a:xfrm>
            <a:off x="6275388" y="5875338"/>
            <a:ext cx="2773362" cy="4000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BA55633C-0541-4C1E-9349-DF9FECFC3D6B}"/>
              </a:ext>
            </a:extLst>
          </p:cNvPr>
          <p:cNvSpPr txBox="1"/>
          <p:nvPr/>
        </p:nvSpPr>
        <p:spPr>
          <a:xfrm>
            <a:off x="3173413" y="5334000"/>
            <a:ext cx="2836068" cy="156966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marL="285750" marR="0" lvl="0" indent="-28575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kern="0" dirty="0">
                <a:solidFill>
                  <a:sysClr val="windowText" lastClr="000000"/>
                </a:solidFill>
              </a:rPr>
              <a:t>1</a:t>
            </a:r>
            <a:r>
              <a:rPr kumimoji="0" lang="en-US" sz="200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000 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scoped </a:t>
            </a:r>
            <a:r>
              <a:rPr lang="en-US" sz="1600" kern="0" dirty="0">
                <a:solidFill>
                  <a:sysClr val="windowText" lastClr="000000"/>
                </a:solidFill>
              </a:rPr>
              <a:t>across 100 schools f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or 2019/20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E60F267D-6967-4DD2-BEAA-80F149D1793B}"/>
              </a:ext>
            </a:extLst>
          </p:cNvPr>
          <p:cNvSpPr txBox="1"/>
          <p:nvPr/>
        </p:nvSpPr>
        <p:spPr>
          <a:xfrm>
            <a:off x="50800" y="5783263"/>
            <a:ext cx="2773363" cy="107721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Other than this schools have/are also procuring own-funded technologies and BOYD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xmlns="" id="{1B2ECB44-CD60-40D3-AFAD-EC2FC0B8360E}"/>
              </a:ext>
            </a:extLst>
          </p:cNvPr>
          <p:cNvSpPr txBox="1"/>
          <p:nvPr/>
        </p:nvSpPr>
        <p:spPr>
          <a:xfrm>
            <a:off x="1168400" y="3622675"/>
            <a:ext cx="1174750" cy="46037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28 871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xmlns="" id="{EF655A95-4C31-486F-B47A-38585D1421C8}"/>
              </a:ext>
            </a:extLst>
          </p:cNvPr>
          <p:cNvSpPr txBox="1"/>
          <p:nvPr/>
        </p:nvSpPr>
        <p:spPr>
          <a:xfrm>
            <a:off x="6327775" y="3541713"/>
            <a:ext cx="2720975" cy="349326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9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1 161</a:t>
            </a:r>
            <a:r>
              <a:rPr kumimoji="0" lang="en-US" sz="2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Refreshed ICT 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     </a:t>
            </a:r>
            <a:r>
              <a:rPr kumimoji="0" lang="en-US" sz="1600" b="0" i="0" u="none" strike="noStrike" kern="0" cap="none" spc="0" normalizeH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suites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(23 000 w/stations)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…166 scoped for 2019/20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------------------------------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600" kern="0" dirty="0">
                <a:solidFill>
                  <a:sysClr val="windowText" lastClr="000000"/>
                </a:solidFill>
              </a:rPr>
              <a:t>333 Subject-Specific ICT suites;  10 900 workstations</a:t>
            </a:r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1600" kern="0" dirty="0">
              <a:solidFill>
                <a:sysClr val="windowText" lastClr="000000"/>
              </a:solidFill>
            </a:endParaRPr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xmlns="" id="{60798413-D7D5-4845-9379-A948FF4DB2CD}"/>
              </a:ext>
            </a:extLst>
          </p:cNvPr>
          <p:cNvSpPr txBox="1"/>
          <p:nvPr/>
        </p:nvSpPr>
        <p:spPr>
          <a:xfrm>
            <a:off x="3173413" y="3662218"/>
            <a:ext cx="901700" cy="76944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200" b="1" kern="0" dirty="0">
                <a:solidFill>
                  <a:sysClr val="windowText" lastClr="000000"/>
                </a:solidFill>
              </a:rPr>
              <a:t>7 778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2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1CA2C892-DEA6-48FA-8512-B56D077A2860}"/>
              </a:ext>
            </a:extLst>
          </p:cNvPr>
          <p:cNvSpPr txBox="1"/>
          <p:nvPr/>
        </p:nvSpPr>
        <p:spPr>
          <a:xfrm>
            <a:off x="3171537" y="4050269"/>
            <a:ext cx="2765424" cy="1077218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342900" indent="-342900">
              <a:buFont typeface="Arial" panose="020B0604020202020204" pitchFamily="34" charset="0"/>
              <a:buChar char="•"/>
              <a:defRPr/>
            </a:pPr>
            <a:r>
              <a:rPr lang="en-US" sz="1600" kern="0" dirty="0">
                <a:solidFill>
                  <a:sysClr val="windowText" lastClr="000000"/>
                </a:solidFill>
              </a:rPr>
              <a:t>26% Classrooms a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cross 596 schools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(39%)</a:t>
            </a:r>
          </a:p>
          <a:p>
            <a:pPr marL="342900" marR="0" lvl="0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xmlns="" val="73197214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8994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95288" y="846138"/>
            <a:ext cx="8748712" cy="79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8707" name="Title 1"/>
          <p:cNvSpPr txBox="1">
            <a:spLocks/>
          </p:cNvSpPr>
          <p:nvPr/>
        </p:nvSpPr>
        <p:spPr bwMode="auto">
          <a:xfrm>
            <a:off x="295275" y="180975"/>
            <a:ext cx="8597900" cy="558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altLang="en-US" sz="2800" b="1" i="0" u="none" strike="noStrike" kern="0" cap="none" spc="0" normalizeH="0" baseline="0" noProof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anose="020B0502020202020204" pitchFamily="34" charset="0"/>
              </a:rPr>
              <a:t>Culture change at schools</a:t>
            </a:r>
          </a:p>
        </p:txBody>
      </p:sp>
      <p:pic>
        <p:nvPicPr>
          <p:cNvPr id="468996" name="Pictur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-769938" y="488950"/>
            <a:ext cx="10687051" cy="6011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68997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7336" y="2743200"/>
            <a:ext cx="9144000" cy="2398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0DFE3E73-0E45-4237-8415-D8072D10BEFA}"/>
              </a:ext>
            </a:extLst>
          </p:cNvPr>
          <p:cNvSpPr txBox="1"/>
          <p:nvPr/>
        </p:nvSpPr>
        <p:spPr>
          <a:xfrm>
            <a:off x="76200" y="3494881"/>
            <a:ext cx="4003675" cy="341632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   ____________________________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    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This stream is an additional one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     not generally part of projects; 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     deals with systemic change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kern="0" dirty="0">
              <a:solidFill>
                <a:sysClr val="windowText" lastClr="000000"/>
              </a:solidFill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500" kern="0" dirty="0">
                <a:solidFill>
                  <a:sysClr val="windowText" lastClr="000000"/>
                </a:solidFill>
              </a:rPr>
              <a:t>Focus #1: Classroom and school ICT Change and Adoption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500" kern="0" dirty="0">
                <a:solidFill>
                  <a:sysClr val="windowText" lastClr="000000"/>
                </a:solidFill>
              </a:rPr>
              <a:t>Focus #2: Cyber-Safety/ Wellness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500" kern="0" dirty="0">
                <a:solidFill>
                  <a:sysClr val="windowText" lastClr="000000"/>
                </a:solidFill>
              </a:rPr>
              <a:t>Focus #3: Responsible citizenry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1400" kern="0" dirty="0">
              <a:solidFill>
                <a:sysClr val="windowText" lastClr="000000"/>
              </a:solidFill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600" kern="0" dirty="0">
              <a:solidFill>
                <a:sysClr val="windowText" lastClr="000000"/>
              </a:solidFill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600" kern="0" dirty="0">
              <a:solidFill>
                <a:sysClr val="windowText" lastClr="000000"/>
              </a:solidFill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8" name="TextBox 7">
            <a:extLst/>
          </p:cNvPr>
          <p:cNvSpPr txBox="1"/>
          <p:nvPr/>
        </p:nvSpPr>
        <p:spPr>
          <a:xfrm>
            <a:off x="5083736" y="4762074"/>
            <a:ext cx="4002087" cy="204671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   ______________________________________________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000" kern="0" dirty="0">
              <a:solidFill>
                <a:sysClr val="windowText" lastClr="000000"/>
              </a:solidFill>
            </a:endParaRP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5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Proficiency Assessment Tool  provides data </a:t>
            </a:r>
            <a:r>
              <a:rPr lang="en-US" sz="1500" kern="0" dirty="0">
                <a:solidFill>
                  <a:sysClr val="windowText" lastClr="000000"/>
                </a:solidFill>
              </a:rPr>
              <a:t>to inform </a:t>
            </a:r>
            <a:r>
              <a:rPr lang="en-US" sz="1500" kern="0" dirty="0" err="1">
                <a:solidFill>
                  <a:sysClr val="windowText" lastClr="000000"/>
                </a:solidFill>
              </a:rPr>
              <a:t>TProfDev</a:t>
            </a:r>
            <a:r>
              <a:rPr lang="en-US" sz="1500" kern="0" dirty="0">
                <a:solidFill>
                  <a:sysClr val="windowText" lastClr="000000"/>
                </a:solidFill>
              </a:rPr>
              <a:t> </a:t>
            </a:r>
            <a:r>
              <a:rPr kumimoji="0" lang="en-US" sz="15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courses</a:t>
            </a:r>
          </a:p>
          <a:p>
            <a:pPr marL="171450" marR="0" lvl="0" indent="-1714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5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Targeted Teacher </a:t>
            </a:r>
            <a:r>
              <a:rPr kumimoji="0" lang="en-US" sz="1500" b="0" i="0" u="none" strike="noStrike" kern="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ProfDev</a:t>
            </a:r>
            <a:r>
              <a:rPr kumimoji="0" lang="en-US" sz="15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approach vs a wide net of invitational-training</a:t>
            </a:r>
          </a:p>
          <a:p>
            <a:pPr marL="171450" lvl="0" indent="-171450">
              <a:buFont typeface="Arial" panose="020B0604020202020204" pitchFamily="34" charset="0"/>
              <a:buChar char="•"/>
              <a:defRPr/>
            </a:pPr>
            <a:r>
              <a:rPr kumimoji="0" lang="en-US" sz="150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</a:t>
            </a:r>
            <a:r>
              <a:rPr lang="en-ZA" sz="1500" dirty="0">
                <a:solidFill>
                  <a:schemeClr val="dk1"/>
                </a:solidFill>
              </a:rPr>
              <a:t>ICT Skills and integration training reaches 70% of teachers</a:t>
            </a:r>
          </a:p>
          <a:p>
            <a:pPr marL="171450" lvl="0" indent="-171450">
              <a:buFont typeface="Arial" panose="020B0604020202020204" pitchFamily="34" charset="0"/>
              <a:buChar char="•"/>
              <a:defRPr/>
            </a:pPr>
            <a:r>
              <a:rPr kumimoji="0" lang="en-ZA" sz="1500" b="0" i="0" u="none" strike="noStrike" kern="0" cap="none" spc="0" normalizeH="0" baseline="0" noProof="0" dirty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</a:rPr>
              <a:t>Trainer network of teachers</a:t>
            </a:r>
            <a:r>
              <a:rPr kumimoji="0" lang="en-ZA" sz="1500" b="0" i="0" u="none" strike="noStrike" kern="0" cap="none" spc="0" normalizeH="0" noProof="0" dirty="0">
                <a:ln>
                  <a:noFill/>
                </a:ln>
                <a:solidFill>
                  <a:schemeClr val="dk1"/>
                </a:solidFill>
                <a:effectLst/>
                <a:uLnTx/>
                <a:uFillTx/>
              </a:rPr>
              <a:t> established</a:t>
            </a:r>
            <a:endParaRPr kumimoji="0" lang="en-US" sz="15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532526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8994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95288" y="846138"/>
            <a:ext cx="8748712" cy="79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8707" name="Title 1"/>
          <p:cNvSpPr txBox="1">
            <a:spLocks/>
          </p:cNvSpPr>
          <p:nvPr/>
        </p:nvSpPr>
        <p:spPr bwMode="auto">
          <a:xfrm>
            <a:off x="295275" y="180975"/>
            <a:ext cx="8597900" cy="558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altLang="en-US" sz="2800" b="1" i="0" u="none" strike="noStrike" kern="0" cap="none" spc="0" normalizeH="0" baseline="0" noProof="0" dirty="0" err="1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anose="020B0502020202020204" pitchFamily="34" charset="0"/>
              </a:rPr>
              <a:t>eTeacher</a:t>
            </a:r>
            <a:r>
              <a:rPr kumimoji="0" lang="en-ZA" alt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anose="020B0502020202020204" pitchFamily="34" charset="0"/>
              </a:rPr>
              <a:t> Professional Development (2015-2018)</a:t>
            </a:r>
          </a:p>
        </p:txBody>
      </p:sp>
      <p:pic>
        <p:nvPicPr>
          <p:cNvPr id="468997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7336" y="2743200"/>
            <a:ext cx="9144000" cy="2398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390738" y="1169987"/>
            <a:ext cx="4333661" cy="1752909"/>
          </a:xfrm>
          <a:prstGeom prst="rect">
            <a:avLst/>
          </a:prstGeom>
        </p:spPr>
      </p:pic>
      <p:graphicFrame>
        <p:nvGraphicFramePr>
          <p:cNvPr id="5" name="Table 4"/>
          <p:cNvGraphicFramePr>
            <a:graphicFrameLocks noGrp="1"/>
          </p:cNvGraphicFramePr>
          <p:nvPr/>
        </p:nvGraphicFramePr>
        <p:xfrm>
          <a:off x="152402" y="3048001"/>
          <a:ext cx="8839197" cy="3667123"/>
        </p:xfrm>
        <a:graphic>
          <a:graphicData uri="http://schemas.openxmlformats.org/drawingml/2006/table">
            <a:tbl>
              <a:tblPr/>
              <a:tblGrid>
                <a:gridCol w="942451">
                  <a:extLst>
                    <a:ext uri="{9D8B030D-6E8A-4147-A177-3AD203B41FA5}">
                      <a16:colId xmlns:a16="http://schemas.microsoft.com/office/drawing/2014/main" xmlns="" val="866574338"/>
                    </a:ext>
                  </a:extLst>
                </a:gridCol>
                <a:gridCol w="942451">
                  <a:extLst>
                    <a:ext uri="{9D8B030D-6E8A-4147-A177-3AD203B41FA5}">
                      <a16:colId xmlns:a16="http://schemas.microsoft.com/office/drawing/2014/main" xmlns="" val="884695665"/>
                    </a:ext>
                  </a:extLst>
                </a:gridCol>
                <a:gridCol w="942451">
                  <a:extLst>
                    <a:ext uri="{9D8B030D-6E8A-4147-A177-3AD203B41FA5}">
                      <a16:colId xmlns:a16="http://schemas.microsoft.com/office/drawing/2014/main" xmlns="" val="3312143566"/>
                    </a:ext>
                  </a:extLst>
                </a:gridCol>
                <a:gridCol w="119046">
                  <a:extLst>
                    <a:ext uri="{9D8B030D-6E8A-4147-A177-3AD203B41FA5}">
                      <a16:colId xmlns:a16="http://schemas.microsoft.com/office/drawing/2014/main" xmlns="" val="1735874215"/>
                    </a:ext>
                  </a:extLst>
                </a:gridCol>
                <a:gridCol w="942451">
                  <a:extLst>
                    <a:ext uri="{9D8B030D-6E8A-4147-A177-3AD203B41FA5}">
                      <a16:colId xmlns:a16="http://schemas.microsoft.com/office/drawing/2014/main" xmlns="" val="3922937944"/>
                    </a:ext>
                  </a:extLst>
                </a:gridCol>
                <a:gridCol w="942451">
                  <a:extLst>
                    <a:ext uri="{9D8B030D-6E8A-4147-A177-3AD203B41FA5}">
                      <a16:colId xmlns:a16="http://schemas.microsoft.com/office/drawing/2014/main" xmlns="" val="34343254"/>
                    </a:ext>
                  </a:extLst>
                </a:gridCol>
                <a:gridCol w="119046">
                  <a:extLst>
                    <a:ext uri="{9D8B030D-6E8A-4147-A177-3AD203B41FA5}">
                      <a16:colId xmlns:a16="http://schemas.microsoft.com/office/drawing/2014/main" xmlns="" val="1520352563"/>
                    </a:ext>
                  </a:extLst>
                </a:gridCol>
                <a:gridCol w="942451">
                  <a:extLst>
                    <a:ext uri="{9D8B030D-6E8A-4147-A177-3AD203B41FA5}">
                      <a16:colId xmlns:a16="http://schemas.microsoft.com/office/drawing/2014/main" xmlns="" val="2640074342"/>
                    </a:ext>
                  </a:extLst>
                </a:gridCol>
                <a:gridCol w="942451">
                  <a:extLst>
                    <a:ext uri="{9D8B030D-6E8A-4147-A177-3AD203B41FA5}">
                      <a16:colId xmlns:a16="http://schemas.microsoft.com/office/drawing/2014/main" xmlns="" val="2945123021"/>
                    </a:ext>
                  </a:extLst>
                </a:gridCol>
                <a:gridCol w="119046">
                  <a:extLst>
                    <a:ext uri="{9D8B030D-6E8A-4147-A177-3AD203B41FA5}">
                      <a16:colId xmlns:a16="http://schemas.microsoft.com/office/drawing/2014/main" xmlns="" val="2471889820"/>
                    </a:ext>
                  </a:extLst>
                </a:gridCol>
                <a:gridCol w="942451">
                  <a:extLst>
                    <a:ext uri="{9D8B030D-6E8A-4147-A177-3AD203B41FA5}">
                      <a16:colId xmlns:a16="http://schemas.microsoft.com/office/drawing/2014/main" xmlns="" val="2790786148"/>
                    </a:ext>
                  </a:extLst>
                </a:gridCol>
                <a:gridCol w="942451">
                  <a:extLst>
                    <a:ext uri="{9D8B030D-6E8A-4147-A177-3AD203B41FA5}">
                      <a16:colId xmlns:a16="http://schemas.microsoft.com/office/drawing/2014/main" xmlns="" val="2754546550"/>
                    </a:ext>
                  </a:extLst>
                </a:gridCol>
              </a:tblGrid>
              <a:tr h="745448">
                <a:tc>
                  <a:txBody>
                    <a:bodyPr/>
                    <a:lstStyle/>
                    <a:p>
                      <a:pPr algn="l" fontAlgn="t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DISTRICT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7"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TLI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7"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CEI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rowSpan="7"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en-US" sz="18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OTAL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B9BD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4198029556"/>
                  </a:ext>
                </a:extLst>
              </a:tr>
              <a:tr h="468911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nYear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stance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iqu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stance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iqu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stance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iqu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nstances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6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niqu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743566565"/>
                  </a:ext>
                </a:extLst>
              </a:tr>
              <a:tr h="384747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5_1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97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6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0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7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35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16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4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641886644"/>
                  </a:ext>
                </a:extLst>
              </a:tr>
              <a:tr h="384747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6_1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37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0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37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61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39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95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147073427"/>
                  </a:ext>
                </a:extLst>
              </a:tr>
              <a:tr h="384747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7_1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1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4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6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8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5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8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62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10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AEF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583232962"/>
                  </a:ext>
                </a:extLst>
              </a:tr>
              <a:tr h="384747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18_1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77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67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3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17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92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2DEE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59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8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23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703293167"/>
                  </a:ext>
                </a:extLst>
              </a:tr>
              <a:tr h="613192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20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TOT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0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864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0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79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0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63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0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28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0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748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0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487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0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28770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0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1395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F4E7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425365879"/>
                  </a:ext>
                </a:extLst>
              </a:tr>
              <a:tr h="300584">
                <a:tc gridSpan="12"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e data includes Basic ICT Skills Training and ICT Integration Training</a:t>
                      </a: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D9D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573908053"/>
                  </a:ext>
                </a:extLst>
              </a:tr>
            </a:tbl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4689144" y="1203826"/>
            <a:ext cx="4419602" cy="172354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dirty="0"/>
              <a:t>Pre-2015 =  13 747 </a:t>
            </a:r>
          </a:p>
          <a:p>
            <a:r>
              <a:rPr lang="en-US" sz="1300" dirty="0"/>
              <a:t>                             Teachers participated in eTPD</a:t>
            </a:r>
          </a:p>
          <a:p>
            <a:endParaRPr lang="en-US" dirty="0"/>
          </a:p>
          <a:p>
            <a:r>
              <a:rPr lang="en-US" dirty="0"/>
              <a:t>Post 2015 = 13 952 </a:t>
            </a:r>
          </a:p>
          <a:p>
            <a:r>
              <a:rPr lang="en-US" sz="1300" dirty="0"/>
              <a:t>                             Teachers participated in eTPD</a:t>
            </a:r>
          </a:p>
          <a:p>
            <a:endParaRPr lang="en-US" sz="1300" dirty="0"/>
          </a:p>
          <a:p>
            <a:endParaRPr lang="en-US" sz="1300" dirty="0"/>
          </a:p>
        </p:txBody>
      </p:sp>
    </p:spTree>
    <p:extLst>
      <p:ext uri="{BB962C8B-B14F-4D97-AF65-F5344CB8AC3E}">
        <p14:creationId xmlns:p14="http://schemas.microsoft.com/office/powerpoint/2010/main" xmlns="" val="221809496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0018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95288" y="846138"/>
            <a:ext cx="8748712" cy="79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9731" name="Title 1"/>
          <p:cNvSpPr txBox="1">
            <a:spLocks/>
          </p:cNvSpPr>
          <p:nvPr/>
        </p:nvSpPr>
        <p:spPr bwMode="auto">
          <a:xfrm>
            <a:off x="295275" y="180975"/>
            <a:ext cx="8597900" cy="558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altLang="en-US" sz="2800" b="1" i="0" u="none" strike="noStrike" kern="0" cap="none" spc="0" normalizeH="0" baseline="0" noProof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anose="020B0502020202020204" pitchFamily="34" charset="0"/>
              </a:rPr>
              <a:t>Administration</a:t>
            </a:r>
          </a:p>
        </p:txBody>
      </p:sp>
      <p:pic>
        <p:nvPicPr>
          <p:cNvPr id="470020" name="Picture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-792163" y="363538"/>
            <a:ext cx="10761663" cy="6054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70021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2700" y="4054475"/>
            <a:ext cx="9144000" cy="2398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xmlns="" id="{62C35089-06DD-4EA4-840B-80509BB6CA8F}"/>
              </a:ext>
            </a:extLst>
          </p:cNvPr>
          <p:cNvSpPr txBox="1"/>
          <p:nvPr/>
        </p:nvSpPr>
        <p:spPr>
          <a:xfrm>
            <a:off x="95250" y="3159125"/>
            <a:ext cx="3970338" cy="178435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WCED </a:t>
            </a:r>
            <a:r>
              <a: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ePortal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</a:t>
            </a:r>
            <a:r>
              <a: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Clou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d content – currently </a:t>
            </a: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11 000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+ multi-linked resources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available to teachers and learners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  ---------------------------------------------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Scoping in 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phases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as budget allow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D3D30935-E406-46CF-81E2-9840946861DB}"/>
              </a:ext>
            </a:extLst>
          </p:cNvPr>
          <p:cNvSpPr txBox="1"/>
          <p:nvPr/>
        </p:nvSpPr>
        <p:spPr>
          <a:xfrm>
            <a:off x="5075238" y="4433888"/>
            <a:ext cx="4003675" cy="2723823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   ___________________________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Current</a:t>
            </a:r>
            <a:r>
              <a:rPr kumimoji="0" lang="en-US" sz="160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: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Learner Management 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4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Learning Management 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400" kern="0" dirty="0">
              <a:solidFill>
                <a:sysClr val="windowText" lastClr="000000"/>
              </a:solidFill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Classroom Management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400" kern="0" dirty="0">
              <a:solidFill>
                <a:sysClr val="windowText" lastClr="000000"/>
              </a:solidFill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Integrated School Administration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(Dashboard</a:t>
            </a:r>
            <a:r>
              <a:rPr lang="en-US" sz="1400" kern="0" dirty="0">
                <a:solidFill>
                  <a:sysClr val="windowText" lastClr="000000"/>
                </a:solidFill>
              </a:rPr>
              <a:t>s for Schools)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7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xmlns="" id="{6E6370E5-6F39-40E9-801B-08F0DE637D94}"/>
              </a:ext>
            </a:extLst>
          </p:cNvPr>
          <p:cNvSpPr txBox="1"/>
          <p:nvPr/>
        </p:nvSpPr>
        <p:spPr>
          <a:xfrm>
            <a:off x="12700" y="4599072"/>
            <a:ext cx="4052888" cy="283923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Initiating National (DBE) Cloud  with curriculum content via the WCED </a:t>
            </a:r>
            <a:r>
              <a:rPr kumimoji="0" lang="en-US" sz="1800" b="0" i="0" u="none" strike="noStrike" kern="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ePortal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kern="0" dirty="0">
                <a:solidFill>
                  <a:sysClr val="windowText" lastClr="000000"/>
                </a:solidFill>
              </a:rPr>
              <a:t>WCED Telematics program via Broadband set for growth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This area is receiving attention; provides opportunity to ALL learners and teachers…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32ED73A2-2B76-4D0B-9D5E-5476FDE9548E}"/>
              </a:ext>
            </a:extLst>
          </p:cNvPr>
          <p:cNvSpPr/>
          <p:nvPr/>
        </p:nvSpPr>
        <p:spPr>
          <a:xfrm>
            <a:off x="12700" y="1244600"/>
            <a:ext cx="4052888" cy="434975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Ecosystem/ </a:t>
            </a:r>
            <a:r>
              <a:rPr kumimoji="0" lang="en-US" sz="2400" b="1" i="0" u="none" strike="noStrike" kern="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ePortal</a:t>
            </a:r>
            <a:endParaRPr kumimoji="0" lang="en-US" sz="2400" b="1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xmlns="" id="{DF7D2C3C-FD68-4F8F-B65C-4CBBEB7D4AAE}"/>
              </a:ext>
            </a:extLst>
          </p:cNvPr>
          <p:cNvSpPr/>
          <p:nvPr/>
        </p:nvSpPr>
        <p:spPr>
          <a:xfrm>
            <a:off x="5103813" y="1222375"/>
            <a:ext cx="4052887" cy="434975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Digital admin systems</a:t>
            </a:r>
          </a:p>
        </p:txBody>
      </p:sp>
    </p:spTree>
    <p:extLst>
      <p:ext uri="{BB962C8B-B14F-4D97-AF65-F5344CB8AC3E}">
        <p14:creationId xmlns:p14="http://schemas.microsoft.com/office/powerpoint/2010/main" xmlns="" val="15336030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1042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95288" y="846138"/>
            <a:ext cx="8748712" cy="79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30755" name="Title 1"/>
          <p:cNvSpPr txBox="1">
            <a:spLocks/>
          </p:cNvSpPr>
          <p:nvPr/>
        </p:nvSpPr>
        <p:spPr bwMode="auto">
          <a:xfrm>
            <a:off x="176213" y="180975"/>
            <a:ext cx="8902700" cy="558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altLang="en-US" sz="2800" b="1" i="0" u="none" strike="noStrike" kern="0" cap="none" spc="0" normalizeH="0" baseline="0" noProof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anose="020B0502020202020204" pitchFamily="34" charset="0"/>
              </a:rPr>
              <a:t>Support: Curriculum Integration and ICT Technical </a:t>
            </a:r>
          </a:p>
        </p:txBody>
      </p:sp>
      <p:pic>
        <p:nvPicPr>
          <p:cNvPr id="471044" name="Picture 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-792163" y="661988"/>
            <a:ext cx="10761663" cy="6054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71045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2700" y="4054475"/>
            <a:ext cx="9144000" cy="2398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xmlns="" id="{F3EA7C6B-183E-4831-AF21-B7334AD68915}"/>
              </a:ext>
            </a:extLst>
          </p:cNvPr>
          <p:cNvSpPr txBox="1"/>
          <p:nvPr/>
        </p:nvSpPr>
        <p:spPr>
          <a:xfrm>
            <a:off x="5075238" y="4433888"/>
            <a:ext cx="4003675" cy="21844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   ___________________________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* 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Current trials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: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Learner Management 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5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Learning Management 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5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Classroom Management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5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Integrated School Administration</a:t>
            </a: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pic>
        <p:nvPicPr>
          <p:cNvPr id="471047" name="Picture 3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545263" y="2349500"/>
            <a:ext cx="771525" cy="771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2C7A0567-A837-454E-B8F3-7D9261B23CDC}"/>
              </a:ext>
            </a:extLst>
          </p:cNvPr>
          <p:cNvSpPr/>
          <p:nvPr/>
        </p:nvSpPr>
        <p:spPr>
          <a:xfrm>
            <a:off x="12700" y="1520825"/>
            <a:ext cx="4052888" cy="46513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District Advisory Support 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36A0B070-8576-4D68-B733-C5885AFA4E0D}"/>
              </a:ext>
            </a:extLst>
          </p:cNvPr>
          <p:cNvSpPr/>
          <p:nvPr/>
        </p:nvSpPr>
        <p:spPr>
          <a:xfrm>
            <a:off x="5075238" y="1530350"/>
            <a:ext cx="4052887" cy="46513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ICT Technical Support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xmlns="" id="{25493D4E-DB2B-4BDC-B9C1-DEC15246830A}"/>
              </a:ext>
            </a:extLst>
          </p:cNvPr>
          <p:cNvSpPr txBox="1"/>
          <p:nvPr/>
        </p:nvSpPr>
        <p:spPr>
          <a:xfrm>
            <a:off x="77788" y="3427413"/>
            <a:ext cx="4003675" cy="357028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   ___________________________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 </a:t>
            </a: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ELEARNING ADVISORY TEAMS</a:t>
            </a: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Component in support at district level 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5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Coordinating team at head office level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5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Creation of School-level support through ICT Champions network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5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Assimilation of Curriculum Advisory teams to support the eLearning goals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Embracing Service Providers in support 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F1F1FE5B-A53E-4B01-A5B4-7C54D98F4C88}"/>
              </a:ext>
            </a:extLst>
          </p:cNvPr>
          <p:cNvSpPr/>
          <p:nvPr/>
        </p:nvSpPr>
        <p:spPr>
          <a:xfrm>
            <a:off x="1504950" y="2481263"/>
            <a:ext cx="963613" cy="3730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0" cap="none" spc="0" normalizeH="0" baseline="0" noProof="0" dirty="0" err="1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pic>
        <p:nvPicPr>
          <p:cNvPr id="471052" name="Picture 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687513" y="2397125"/>
            <a:ext cx="596900" cy="595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xmlns="" id="{6A5BB511-CC38-4E9D-8A2D-4426E1604FAD}"/>
              </a:ext>
            </a:extLst>
          </p:cNvPr>
          <p:cNvSpPr txBox="1"/>
          <p:nvPr/>
        </p:nvSpPr>
        <p:spPr>
          <a:xfrm>
            <a:off x="5075238" y="3500438"/>
            <a:ext cx="4003675" cy="34925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   ___________________________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CENTRALISED SUPPORT DESK 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One-Call service to schools </a:t>
            </a:r>
            <a:endParaRPr kumimoji="0" lang="en-US" sz="5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Re-routing and Escalation as needs be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5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Service Provider network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5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Contractual agreement/s concluded 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Additional support negotiated for the Provincial IT Support teams (</a:t>
            </a:r>
            <a:r>
              <a:rPr kumimoji="0" lang="en-US" sz="1600" b="0" i="0" u="none" strike="noStrike" kern="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CeI</a:t>
            </a:r>
            <a:r>
              <a:rPr kumimoji="0" lang="en-US" sz="16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)</a:t>
            </a: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6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285750" marR="0" lvl="0" indent="-28575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xmlns="" val="89161404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1" name="Content Placeholder 2">
            <a:extLst>
              <a:ext uri="{FF2B5EF4-FFF2-40B4-BE49-F238E27FC236}">
                <a16:creationId xmlns:a16="http://schemas.microsoft.com/office/drawing/2014/main" xmlns="" id="{4C9EB01B-F98B-4BF2-8B92-BBCD2F480FEF}"/>
              </a:ext>
            </a:extLst>
          </p:cNvPr>
          <p:cNvSpPr txBox="1">
            <a:spLocks/>
          </p:cNvSpPr>
          <p:nvPr/>
        </p:nvSpPr>
        <p:spPr bwMode="auto">
          <a:xfrm>
            <a:off x="766763" y="177800"/>
            <a:ext cx="7653337" cy="560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ZA" altLang="en-US" sz="1800" b="0" i="0" u="none" strike="noStrike" kern="0" cap="none" spc="0" normalizeH="0" baseline="0" noProof="0" dirty="0">
              <a:ln>
                <a:noFill/>
              </a:ln>
              <a:solidFill>
                <a:srgbClr val="000091"/>
              </a:solidFill>
              <a:effectLst/>
              <a:uLnTx/>
              <a:uFillTx/>
              <a:latin typeface="Century Gothic" panose="020B0502020202020204" pitchFamily="34" charset="0"/>
              <a:ea typeface="Century Gothic" panose="020B0502020202020204" pitchFamily="34" charset="0"/>
              <a:cs typeface="Century Gothic" panose="020B0502020202020204" pitchFamily="34" charset="0"/>
            </a:endParaRPr>
          </a:p>
        </p:txBody>
      </p:sp>
      <p:sp>
        <p:nvSpPr>
          <p:cNvPr id="315395" name="Title 1"/>
          <p:cNvSpPr txBox="1">
            <a:spLocks/>
          </p:cNvSpPr>
          <p:nvPr/>
        </p:nvSpPr>
        <p:spPr bwMode="auto">
          <a:xfrm>
            <a:off x="295275" y="180975"/>
            <a:ext cx="8597900" cy="558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alt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anose="020B0502020202020204" pitchFamily="34" charset="0"/>
              </a:rPr>
              <a:t>Challenges</a:t>
            </a:r>
          </a:p>
        </p:txBody>
      </p:sp>
      <p:grpSp>
        <p:nvGrpSpPr>
          <p:cNvPr id="472068" name="Group 50"/>
          <p:cNvGrpSpPr>
            <a:grpSpLocks/>
          </p:cNvGrpSpPr>
          <p:nvPr/>
        </p:nvGrpSpPr>
        <p:grpSpPr bwMode="auto">
          <a:xfrm>
            <a:off x="5943600" y="3776663"/>
            <a:ext cx="4083050" cy="809625"/>
            <a:chOff x="4746268" y="2380595"/>
            <a:chExt cx="4083277" cy="808960"/>
          </a:xfrm>
        </p:grpSpPr>
        <p:pic>
          <p:nvPicPr>
            <p:cNvPr id="472102" name="Picture 41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46268" y="2380595"/>
              <a:ext cx="808960" cy="8089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xmlns="" id="{A6220567-9F27-4A9D-8DC6-54B6380FF7C3}"/>
                </a:ext>
              </a:extLst>
            </p:cNvPr>
            <p:cNvSpPr txBox="1"/>
            <p:nvPr/>
          </p:nvSpPr>
          <p:spPr>
            <a:xfrm>
              <a:off x="5371778" y="2517008"/>
              <a:ext cx="3457767" cy="645800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 Utilization of services 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600" kern="0" noProof="0" dirty="0">
                  <a:solidFill>
                    <a:sysClr val="windowText" lastClr="000000"/>
                  </a:solidFill>
                </a:rPr>
                <a:t>  </a:t>
              </a:r>
              <a:r>
                <a:rPr kumimoji="0" lang="en-US" sz="17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needs</a:t>
              </a:r>
              <a:r>
                <a:rPr kumimoji="0" lang="en-US" sz="1700" b="0" i="0" u="none" strike="noStrike" kern="0" cap="none" spc="0" normalizeH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 to be addressed</a:t>
              </a:r>
              <a:endParaRPr kumimoji="0" lang="en-US" sz="17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472069" name="Group 55"/>
          <p:cNvGrpSpPr>
            <a:grpSpLocks/>
          </p:cNvGrpSpPr>
          <p:nvPr/>
        </p:nvGrpSpPr>
        <p:grpSpPr bwMode="auto">
          <a:xfrm>
            <a:off x="65088" y="4486275"/>
            <a:ext cx="4302125" cy="676275"/>
            <a:chOff x="4812152" y="5347643"/>
            <a:chExt cx="4300951" cy="676745"/>
          </a:xfrm>
        </p:grpSpPr>
        <p:pic>
          <p:nvPicPr>
            <p:cNvPr id="472100" name="Picture 44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12152" y="5347643"/>
              <a:ext cx="676745" cy="67674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xmlns="" id="{64D2EF3F-27A5-4ED2-98FB-A4C0C6D56EA7}"/>
                </a:ext>
              </a:extLst>
            </p:cNvPr>
            <p:cNvSpPr txBox="1"/>
            <p:nvPr/>
          </p:nvSpPr>
          <p:spPr>
            <a:xfrm>
              <a:off x="5350167" y="5473143"/>
              <a:ext cx="3762936" cy="373321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Sustainability challenges</a:t>
              </a:r>
            </a:p>
          </p:txBody>
        </p:sp>
      </p:grpSp>
      <p:grpSp>
        <p:nvGrpSpPr>
          <p:cNvPr id="472070" name="Group 56"/>
          <p:cNvGrpSpPr>
            <a:grpSpLocks/>
          </p:cNvGrpSpPr>
          <p:nvPr/>
        </p:nvGrpSpPr>
        <p:grpSpPr bwMode="auto">
          <a:xfrm>
            <a:off x="6073775" y="4710114"/>
            <a:ext cx="4430713" cy="934442"/>
            <a:chOff x="4856404" y="6014529"/>
            <a:chExt cx="4430766" cy="934345"/>
          </a:xfrm>
        </p:grpSpPr>
        <p:pic>
          <p:nvPicPr>
            <p:cNvPr id="472098" name="Picture 45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56404" y="6014529"/>
              <a:ext cx="671038" cy="73155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xmlns="" id="{B7940C48-579E-4BA5-B685-08F5AEA9D457}"/>
                </a:ext>
              </a:extLst>
            </p:cNvPr>
            <p:cNvSpPr txBox="1"/>
            <p:nvPr/>
          </p:nvSpPr>
          <p:spPr>
            <a:xfrm>
              <a:off x="5524750" y="6025640"/>
              <a:ext cx="3762420" cy="923234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Universal Access is 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kern="0" dirty="0">
                  <a:solidFill>
                    <a:sysClr val="windowText" lastClr="000000"/>
                  </a:solidFill>
                </a:rPr>
                <a:t>an infrastructural 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challenge</a:t>
              </a:r>
            </a:p>
          </p:txBody>
        </p:sp>
      </p:grpSp>
      <p:grpSp>
        <p:nvGrpSpPr>
          <p:cNvPr id="472071" name="Group 57"/>
          <p:cNvGrpSpPr>
            <a:grpSpLocks/>
          </p:cNvGrpSpPr>
          <p:nvPr/>
        </p:nvGrpSpPr>
        <p:grpSpPr bwMode="auto">
          <a:xfrm>
            <a:off x="6350" y="2846388"/>
            <a:ext cx="3194050" cy="771525"/>
            <a:chOff x="2226405" y="981289"/>
            <a:chExt cx="2675149" cy="771976"/>
          </a:xfrm>
        </p:grpSpPr>
        <p:pic>
          <p:nvPicPr>
            <p:cNvPr id="472096" name="Picture 36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26405" y="981289"/>
              <a:ext cx="771976" cy="77197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xmlns="" id="{779E69B8-30C1-4474-AAE6-A9922F3566EA}"/>
                </a:ext>
              </a:extLst>
            </p:cNvPr>
            <p:cNvSpPr txBox="1"/>
            <p:nvPr/>
          </p:nvSpPr>
          <p:spPr>
            <a:xfrm>
              <a:off x="2820177" y="1194138"/>
              <a:ext cx="2081377" cy="370103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Technical Support </a:t>
              </a:r>
            </a:p>
          </p:txBody>
        </p:sp>
      </p:grpSp>
      <p:sp>
        <p:nvSpPr>
          <p:cNvPr id="40" name="AutoShape 2" descr="Image result for service">
            <a:extLst>
              <a:ext uri="{FF2B5EF4-FFF2-40B4-BE49-F238E27FC236}">
                <a16:creationId xmlns:a16="http://schemas.microsoft.com/office/drawing/2014/main" xmlns="" id="{300CFF05-3355-4B45-86A3-5090ABA54855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3500" y="-731838"/>
            <a:ext cx="2143125" cy="1524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grpSp>
        <p:nvGrpSpPr>
          <p:cNvPr id="472073" name="Group 51"/>
          <p:cNvGrpSpPr>
            <a:grpSpLocks/>
          </p:cNvGrpSpPr>
          <p:nvPr/>
        </p:nvGrpSpPr>
        <p:grpSpPr bwMode="auto">
          <a:xfrm>
            <a:off x="95250" y="1184275"/>
            <a:ext cx="3998913" cy="677863"/>
            <a:chOff x="4830228" y="3109781"/>
            <a:chExt cx="3999317" cy="676570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xmlns="" id="{A102DB4F-207F-4147-B9DA-B4F8D1DBC422}"/>
                </a:ext>
              </a:extLst>
            </p:cNvPr>
            <p:cNvSpPr txBox="1"/>
            <p:nvPr/>
          </p:nvSpPr>
          <p:spPr>
            <a:xfrm>
              <a:off x="5371621" y="3152562"/>
              <a:ext cx="3457924" cy="369181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Delayed landing of technologies</a:t>
              </a:r>
            </a:p>
          </p:txBody>
        </p:sp>
        <p:pic>
          <p:nvPicPr>
            <p:cNvPr id="472095" name="Picture 42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30228" y="3109781"/>
              <a:ext cx="647780" cy="67657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472074" name="Group 54"/>
          <p:cNvGrpSpPr>
            <a:grpSpLocks/>
          </p:cNvGrpSpPr>
          <p:nvPr/>
        </p:nvGrpSpPr>
        <p:grpSpPr bwMode="auto">
          <a:xfrm>
            <a:off x="95250" y="3733800"/>
            <a:ext cx="4259263" cy="652463"/>
            <a:chOff x="4858801" y="4808881"/>
            <a:chExt cx="4259561" cy="651611"/>
          </a:xfrm>
        </p:grpSpPr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xmlns="" id="{95B70754-ED81-45BC-8EA7-D8943C620602}"/>
                </a:ext>
              </a:extLst>
            </p:cNvPr>
            <p:cNvSpPr txBox="1"/>
            <p:nvPr/>
          </p:nvSpPr>
          <p:spPr>
            <a:xfrm>
              <a:off x="5355724" y="4932544"/>
              <a:ext cx="3762638" cy="372576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 Security concerns</a:t>
              </a:r>
            </a:p>
          </p:txBody>
        </p:sp>
        <p:pic>
          <p:nvPicPr>
            <p:cNvPr id="472093" name="Picture 43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58801" y="4808881"/>
              <a:ext cx="651611" cy="6516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472075" name="Group 52"/>
          <p:cNvGrpSpPr>
            <a:grpSpLocks/>
          </p:cNvGrpSpPr>
          <p:nvPr/>
        </p:nvGrpSpPr>
        <p:grpSpPr bwMode="auto">
          <a:xfrm>
            <a:off x="6073775" y="2960688"/>
            <a:ext cx="4321175" cy="696912"/>
            <a:chOff x="4901554" y="3735894"/>
            <a:chExt cx="4321280" cy="697369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xmlns="" id="{710285E0-5EA7-46B5-AB11-467CE983475E}"/>
                </a:ext>
              </a:extLst>
            </p:cNvPr>
            <p:cNvSpPr txBox="1"/>
            <p:nvPr/>
          </p:nvSpPr>
          <p:spPr>
            <a:xfrm>
              <a:off x="5460368" y="3786727"/>
              <a:ext cx="3762466" cy="646536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Desired irreversible 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change at trickle pace</a:t>
              </a:r>
            </a:p>
          </p:txBody>
        </p:sp>
        <p:pic>
          <p:nvPicPr>
            <p:cNvPr id="472091" name="Picture 47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901554" y="3735894"/>
              <a:ext cx="533151" cy="5277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50" name="Group 49">
            <a:extLst>
              <a:ext uri="{FF2B5EF4-FFF2-40B4-BE49-F238E27FC236}">
                <a16:creationId xmlns:a16="http://schemas.microsoft.com/office/drawing/2014/main" xmlns="" id="{4619FC3D-D6FF-4A50-B8F0-B3AEB88BD350}"/>
              </a:ext>
            </a:extLst>
          </p:cNvPr>
          <p:cNvGrpSpPr/>
          <p:nvPr/>
        </p:nvGrpSpPr>
        <p:grpSpPr>
          <a:xfrm>
            <a:off x="5978011" y="1161164"/>
            <a:ext cx="3165989" cy="793965"/>
            <a:chOff x="4761770" y="1787387"/>
            <a:chExt cx="4279459" cy="793965"/>
          </a:xfrm>
          <a:solidFill>
            <a:schemeClr val="bg1"/>
          </a:solidFill>
        </p:grpSpPr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xmlns="" id="{E26D17DA-08F6-406B-8E28-E8F88E727F47}"/>
                </a:ext>
              </a:extLst>
            </p:cNvPr>
            <p:cNvSpPr txBox="1"/>
            <p:nvPr/>
          </p:nvSpPr>
          <p:spPr>
            <a:xfrm>
              <a:off x="5469843" y="1935021"/>
              <a:ext cx="3571386" cy="646331"/>
            </a:xfrm>
            <a:prstGeom prst="rect">
              <a:avLst/>
            </a:prstGeom>
            <a:grpFill/>
          </p:spPr>
          <p:txBody>
            <a:bodyPr>
              <a:spAutoFit/>
            </a:bodyPr>
            <a:lstStyle/>
            <a:p>
              <a:pPr lvl="0">
                <a:defRPr/>
              </a:pPr>
              <a:r>
                <a:rPr lang="en-US" kern="0" dirty="0">
                  <a:solidFill>
                    <a:sysClr val="windowText" lastClr="000000"/>
                  </a:solidFill>
                </a:rPr>
                <a:t>Connectivity </a:t>
              </a:r>
              <a:r>
                <a:rPr lang="en-US" kern="0" dirty="0" err="1">
                  <a:solidFill>
                    <a:sysClr val="windowText" lastClr="000000"/>
                  </a:solidFill>
                </a:rPr>
                <a:t>QoS</a:t>
              </a:r>
              <a:endParaRPr lang="en-US" kern="0" dirty="0">
                <a:solidFill>
                  <a:sysClr val="windowText" lastClr="000000"/>
                </a:solidFill>
              </a:endParaRPr>
            </a:p>
            <a:p>
              <a:pPr lvl="0">
                <a:defRPr/>
              </a:pPr>
              <a:r>
                <a:rPr lang="en-US" kern="0" dirty="0">
                  <a:solidFill>
                    <a:sysClr val="windowText" lastClr="000000"/>
                  </a:solidFill>
                </a:rPr>
                <a:t>requires attention</a:t>
              </a: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pic>
          <p:nvPicPr>
            <p:cNvPr id="41" name="Picture 40">
              <a:extLst>
                <a:ext uri="{FF2B5EF4-FFF2-40B4-BE49-F238E27FC236}">
                  <a16:creationId xmlns:a16="http://schemas.microsoft.com/office/drawing/2014/main" xmlns="" id="{7A43877B-2D12-43A2-B8EF-FCD299A8FA1E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/>
            <a:stretch>
              <a:fillRect/>
            </a:stretch>
          </p:blipFill>
          <p:spPr>
            <a:xfrm>
              <a:off x="4761770" y="1787387"/>
              <a:ext cx="789394" cy="694760"/>
            </a:xfrm>
            <a:prstGeom prst="rect">
              <a:avLst/>
            </a:prstGeom>
            <a:grpFill/>
          </p:spPr>
        </p:pic>
      </p:grpSp>
      <p:sp>
        <p:nvSpPr>
          <p:cNvPr id="2" name="AutoShape 2" descr="Image result for teacher training icon">
            <a:extLst>
              <a:ext uri="{FF2B5EF4-FFF2-40B4-BE49-F238E27FC236}">
                <a16:creationId xmlns:a16="http://schemas.microsoft.com/office/drawing/2014/main" xmlns="" id="{A89BE404-EE16-45CA-A73F-B64DF73E448E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155575" y="-577850"/>
            <a:ext cx="738188" cy="7381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grpSp>
        <p:nvGrpSpPr>
          <p:cNvPr id="472078" name="Group 7"/>
          <p:cNvGrpSpPr>
            <a:grpSpLocks/>
          </p:cNvGrpSpPr>
          <p:nvPr/>
        </p:nvGrpSpPr>
        <p:grpSpPr bwMode="auto">
          <a:xfrm>
            <a:off x="6073775" y="2095500"/>
            <a:ext cx="3096319" cy="761117"/>
            <a:chOff x="4729223" y="1927997"/>
            <a:chExt cx="3097505" cy="761061"/>
          </a:xfrm>
        </p:grpSpPr>
        <p:pic>
          <p:nvPicPr>
            <p:cNvPr id="472088" name="Picture 2"/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29223" y="1927997"/>
              <a:ext cx="596000" cy="59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xmlns="" id="{DA0C5372-0D57-4EA9-872D-9032C8B7E7C1}"/>
                </a:ext>
              </a:extLst>
            </p:cNvPr>
            <p:cNvSpPr/>
            <p:nvPr/>
          </p:nvSpPr>
          <p:spPr>
            <a:xfrm>
              <a:off x="5324764" y="2058162"/>
              <a:ext cx="2501964" cy="630896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 err="1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eTeachers</a:t>
              </a: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 slow in  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7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assimilating eLearning</a:t>
              </a:r>
            </a:p>
          </p:txBody>
        </p:sp>
      </p:grpSp>
      <p:grpSp>
        <p:nvGrpSpPr>
          <p:cNvPr id="472079" name="Group 6"/>
          <p:cNvGrpSpPr>
            <a:grpSpLocks/>
          </p:cNvGrpSpPr>
          <p:nvPr/>
        </p:nvGrpSpPr>
        <p:grpSpPr bwMode="auto">
          <a:xfrm>
            <a:off x="-4378325" y="2084388"/>
            <a:ext cx="8283575" cy="4349750"/>
            <a:chOff x="-3782824" y="5620511"/>
            <a:chExt cx="8283909" cy="4350574"/>
          </a:xfrm>
        </p:grpSpPr>
        <p:grpSp>
          <p:nvGrpSpPr>
            <p:cNvPr id="472083" name="Group 53"/>
            <p:cNvGrpSpPr>
              <a:grpSpLocks/>
            </p:cNvGrpSpPr>
            <p:nvPr/>
          </p:nvGrpSpPr>
          <p:grpSpPr bwMode="auto">
            <a:xfrm>
              <a:off x="-3782824" y="5620511"/>
              <a:ext cx="7876796" cy="4350574"/>
              <a:chOff x="1361497" y="3277476"/>
              <a:chExt cx="7876796" cy="4517863"/>
            </a:xfrm>
          </p:grpSpPr>
          <p:sp>
            <p:nvSpPr>
              <p:cNvPr id="20" name="TextBox 19">
                <a:extLst>
                  <a:ext uri="{FF2B5EF4-FFF2-40B4-BE49-F238E27FC236}">
                    <a16:creationId xmlns:a16="http://schemas.microsoft.com/office/drawing/2014/main" xmlns="" id="{6E180277-C16F-4C00-BBC7-0C8682A3D312}"/>
                  </a:ext>
                </a:extLst>
              </p:cNvPr>
              <p:cNvSpPr txBox="1"/>
              <p:nvPr/>
            </p:nvSpPr>
            <p:spPr>
              <a:xfrm>
                <a:off x="1361497" y="7416102"/>
                <a:ext cx="3762527" cy="379237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rPr>
                  <a:t> </a:t>
                </a:r>
              </a:p>
            </p:txBody>
          </p:sp>
          <p:pic>
            <p:nvPicPr>
              <p:cNvPr id="472086" name="Picture 46"/>
              <p:cNvPicPr>
                <a:picLocks noChangeAspect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 xmlns="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859617" y="3277476"/>
                <a:ext cx="588354" cy="588354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 xmlns="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xmlns="" id="{24F84E03-2153-4861-9AA2-19719F037633}"/>
                  </a:ext>
                </a:extLst>
              </p:cNvPr>
              <p:cNvSpPr txBox="1"/>
              <p:nvPr/>
            </p:nvSpPr>
            <p:spPr>
              <a:xfrm>
                <a:off x="5476463" y="5829904"/>
                <a:ext cx="3762527" cy="372641"/>
              </a:xfrm>
              <a:prstGeom prst="rect">
                <a:avLst/>
              </a:prstGeom>
              <a:noFill/>
            </p:spPr>
            <p:txBody>
              <a:bodyPr>
                <a:spAutoFit/>
              </a:bodyPr>
              <a:lstStyle/>
              <a:p>
                <a:pPr marL="0" marR="0" lvl="0" indent="0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1800" b="0" i="0" u="none" strike="noStrike" kern="0" cap="none" spc="0" normalizeH="0" baseline="0" noProof="0" dirty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</a:rPr>
                  <a:t> </a:t>
                </a:r>
              </a:p>
            </p:txBody>
          </p:sp>
        </p:grp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xmlns="" id="{2098C5C8-BF53-4D4F-BB63-93FC32B6DC79}"/>
                </a:ext>
              </a:extLst>
            </p:cNvPr>
            <p:cNvSpPr/>
            <p:nvPr/>
          </p:nvSpPr>
          <p:spPr>
            <a:xfrm>
              <a:off x="1276743" y="5691962"/>
              <a:ext cx="3224342" cy="369958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0" i="0" u="none" strike="noStrike" kern="0" cap="none" spc="0" normalizeH="0" baseline="0" noProof="0" dirty="0" err="1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eContent</a:t>
              </a:r>
              <a:r>
                <a:rPr kumimoji="0" lang="en-US" sz="1800" b="0" i="0" u="none" strike="noStrike" kern="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</a:rPr>
                <a:t> not readily available</a:t>
              </a:r>
            </a:p>
          </p:txBody>
        </p:sp>
      </p:grpSp>
      <p:sp>
        <p:nvSpPr>
          <p:cNvPr id="10" name="Oval 9">
            <a:extLst>
              <a:ext uri="{FF2B5EF4-FFF2-40B4-BE49-F238E27FC236}">
                <a16:creationId xmlns:a16="http://schemas.microsoft.com/office/drawing/2014/main" xmlns="" id="{A8103544-1308-4FDA-B59E-C3251C1DDF1E}"/>
              </a:ext>
            </a:extLst>
          </p:cNvPr>
          <p:cNvSpPr/>
          <p:nvPr/>
        </p:nvSpPr>
        <p:spPr>
          <a:xfrm>
            <a:off x="2939219" y="2458014"/>
            <a:ext cx="2703976" cy="2434022"/>
          </a:xfrm>
          <a:prstGeom prst="ellipse">
            <a:avLst/>
          </a:prstGeom>
          <a:solidFill>
            <a:schemeClr val="tx2"/>
          </a:solidFill>
          <a:ln>
            <a:noFill/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1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CHALLENGES</a:t>
            </a:r>
            <a:r>
              <a:rPr kumimoji="0" lang="en-US" sz="2200" b="0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 and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2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</a:rPr>
              <a:t>RISKS</a:t>
            </a:r>
          </a:p>
        </p:txBody>
      </p:sp>
    </p:spTree>
    <p:extLst>
      <p:ext uri="{BB962C8B-B14F-4D97-AF65-F5344CB8AC3E}">
        <p14:creationId xmlns:p14="http://schemas.microsoft.com/office/powerpoint/2010/main" xmlns="" val="2754183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object 24"/>
          <p:cNvSpPr/>
          <p:nvPr/>
        </p:nvSpPr>
        <p:spPr>
          <a:xfrm>
            <a:off x="8377428" y="3601514"/>
            <a:ext cx="335279" cy="33528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object 2"/>
          <p:cNvSpPr/>
          <p:nvPr/>
        </p:nvSpPr>
        <p:spPr>
          <a:xfrm>
            <a:off x="274320" y="6149340"/>
            <a:ext cx="1109472" cy="34594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 txBox="1">
            <a:spLocks noGrp="1"/>
          </p:cNvSpPr>
          <p:nvPr>
            <p:ph type="title"/>
          </p:nvPr>
        </p:nvSpPr>
        <p:spPr>
          <a:xfrm>
            <a:off x="354584" y="343280"/>
            <a:ext cx="7289165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400" dirty="0">
                <a:solidFill>
                  <a:srgbClr val="003399"/>
                </a:solidFill>
              </a:rPr>
              <a:t>Assessing the </a:t>
            </a:r>
            <a:r>
              <a:rPr lang="en-US" sz="2400" dirty="0">
                <a:solidFill>
                  <a:srgbClr val="003399"/>
                </a:solidFill>
              </a:rPr>
              <a:t>AS IS </a:t>
            </a:r>
            <a:r>
              <a:rPr sz="2400" dirty="0">
                <a:solidFill>
                  <a:srgbClr val="003399"/>
                </a:solidFill>
              </a:rPr>
              <a:t>‘Stage </a:t>
            </a:r>
            <a:r>
              <a:rPr sz="2400" spc="-5" dirty="0">
                <a:solidFill>
                  <a:srgbClr val="003399"/>
                </a:solidFill>
              </a:rPr>
              <a:t>of</a:t>
            </a:r>
            <a:r>
              <a:rPr sz="2400" spc="-95" dirty="0">
                <a:solidFill>
                  <a:srgbClr val="003399"/>
                </a:solidFill>
              </a:rPr>
              <a:t> </a:t>
            </a:r>
            <a:r>
              <a:rPr sz="2400" spc="-5" dirty="0">
                <a:solidFill>
                  <a:srgbClr val="003399"/>
                </a:solidFill>
              </a:rPr>
              <a:t>Delivery’</a:t>
            </a:r>
            <a:endParaRPr sz="2400" dirty="0"/>
          </a:p>
        </p:txBody>
      </p:sp>
      <p:sp>
        <p:nvSpPr>
          <p:cNvPr id="4" name="object 4"/>
          <p:cNvSpPr/>
          <p:nvPr/>
        </p:nvSpPr>
        <p:spPr>
          <a:xfrm>
            <a:off x="367271" y="1791461"/>
            <a:ext cx="152399" cy="16002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367271" y="2967989"/>
            <a:ext cx="152399" cy="160020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/>
          <p:nvPr/>
        </p:nvSpPr>
        <p:spPr>
          <a:xfrm>
            <a:off x="367271" y="4144517"/>
            <a:ext cx="152399" cy="16001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object 7"/>
          <p:cNvSpPr txBox="1"/>
          <p:nvPr/>
        </p:nvSpPr>
        <p:spPr>
          <a:xfrm>
            <a:off x="354584" y="1126020"/>
            <a:ext cx="8336280" cy="4928144"/>
          </a:xfrm>
          <a:prstGeom prst="rect">
            <a:avLst/>
          </a:prstGeom>
        </p:spPr>
        <p:txBody>
          <a:bodyPr vert="horz" wrap="square" lIns="0" tIns="16319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285"/>
              </a:spcBef>
            </a:pPr>
            <a:r>
              <a:rPr sz="2000" b="1" spc="-5" dirty="0">
                <a:latin typeface="Century Gothic"/>
                <a:cs typeface="Century Gothic"/>
              </a:rPr>
              <a:t>Stage 1: Policy</a:t>
            </a:r>
            <a:r>
              <a:rPr sz="2000" b="1" spc="-35" dirty="0">
                <a:latin typeface="Century Gothic"/>
                <a:cs typeface="Century Gothic"/>
              </a:rPr>
              <a:t> </a:t>
            </a:r>
            <a:r>
              <a:rPr sz="2000" b="1" spc="-5" dirty="0">
                <a:latin typeface="Century Gothic"/>
                <a:cs typeface="Century Gothic"/>
              </a:rPr>
              <a:t>development</a:t>
            </a:r>
            <a:endParaRPr sz="2000" dirty="0">
              <a:latin typeface="Century Gothic"/>
              <a:cs typeface="Century Gothic"/>
            </a:endParaRPr>
          </a:p>
          <a:p>
            <a:pPr marL="192405">
              <a:lnSpc>
                <a:spcPct val="100000"/>
              </a:lnSpc>
              <a:spcBef>
                <a:spcPts val="1065"/>
              </a:spcBef>
            </a:pPr>
            <a:r>
              <a:rPr sz="1800" spc="0" dirty="0">
                <a:latin typeface="Century Gothic"/>
                <a:cs typeface="Century Gothic"/>
              </a:rPr>
              <a:t>At </a:t>
            </a:r>
            <a:r>
              <a:rPr sz="1800" spc="-5" dirty="0">
                <a:latin typeface="Century Gothic"/>
                <a:cs typeface="Century Gothic"/>
              </a:rPr>
              <a:t>this stage </a:t>
            </a:r>
            <a:r>
              <a:rPr lang="en-US" sz="1800" dirty="0">
                <a:latin typeface="Century Gothic"/>
                <a:cs typeface="Century Gothic"/>
              </a:rPr>
              <a:t>the organization has embraced the Transformation </a:t>
            </a:r>
            <a:r>
              <a:rPr lang="en-US" dirty="0">
                <a:latin typeface="Century Gothic"/>
                <a:cs typeface="Century Gothic"/>
              </a:rPr>
              <a:t>agenda </a:t>
            </a:r>
            <a:r>
              <a:rPr sz="1800" spc="-10" dirty="0">
                <a:latin typeface="Century Gothic"/>
                <a:cs typeface="Century Gothic"/>
              </a:rPr>
              <a:t>and the </a:t>
            </a:r>
            <a:r>
              <a:rPr sz="1800" dirty="0">
                <a:latin typeface="Century Gothic"/>
                <a:cs typeface="Century Gothic"/>
              </a:rPr>
              <a:t>major </a:t>
            </a:r>
            <a:r>
              <a:rPr sz="1800" spc="-10" dirty="0">
                <a:latin typeface="Century Gothic"/>
                <a:cs typeface="Century Gothic"/>
              </a:rPr>
              <a:t>steps</a:t>
            </a:r>
            <a:r>
              <a:rPr sz="1800" spc="60" dirty="0">
                <a:latin typeface="Century Gothic"/>
                <a:cs typeface="Century Gothic"/>
              </a:rPr>
              <a:t> </a:t>
            </a:r>
            <a:r>
              <a:rPr sz="1800" spc="-10" dirty="0">
                <a:latin typeface="Century Gothic"/>
                <a:cs typeface="Century Gothic"/>
              </a:rPr>
              <a:t>towards</a:t>
            </a:r>
            <a:r>
              <a:rPr lang="en-US" dirty="0">
                <a:latin typeface="Century Gothic"/>
                <a:cs typeface="Century Gothic"/>
              </a:rPr>
              <a:t> </a:t>
            </a:r>
            <a:r>
              <a:rPr sz="1800" spc="-5" dirty="0">
                <a:latin typeface="Century Gothic"/>
                <a:cs typeface="Century Gothic"/>
              </a:rPr>
              <a:t>implementation </a:t>
            </a:r>
            <a:r>
              <a:rPr sz="1800" dirty="0">
                <a:latin typeface="Century Gothic"/>
                <a:cs typeface="Century Gothic"/>
              </a:rPr>
              <a:t>have </a:t>
            </a:r>
            <a:r>
              <a:rPr sz="1800" spc="-5" dirty="0">
                <a:latin typeface="Century Gothic"/>
                <a:cs typeface="Century Gothic"/>
              </a:rPr>
              <a:t>commenced</a:t>
            </a:r>
            <a:endParaRPr sz="1800" dirty="0">
              <a:latin typeface="Century Gothic"/>
              <a:cs typeface="Century Gothic"/>
            </a:endParaRPr>
          </a:p>
          <a:p>
            <a:pPr marL="12700">
              <a:lnSpc>
                <a:spcPct val="100000"/>
              </a:lnSpc>
              <a:spcBef>
                <a:spcPts val="1050"/>
              </a:spcBef>
            </a:pPr>
            <a:r>
              <a:rPr sz="2000" b="1" spc="-5" dirty="0">
                <a:latin typeface="Century Gothic"/>
                <a:cs typeface="Century Gothic"/>
              </a:rPr>
              <a:t>Stage 2:</a:t>
            </a:r>
            <a:r>
              <a:rPr sz="2000" b="1" spc="-10" dirty="0">
                <a:latin typeface="Century Gothic"/>
                <a:cs typeface="Century Gothic"/>
              </a:rPr>
              <a:t> </a:t>
            </a:r>
            <a:r>
              <a:rPr sz="2000" b="1" dirty="0">
                <a:latin typeface="Century Gothic"/>
                <a:cs typeface="Century Gothic"/>
              </a:rPr>
              <a:t>Implementation</a:t>
            </a:r>
            <a:endParaRPr sz="2000" dirty="0">
              <a:latin typeface="Century Gothic"/>
              <a:cs typeface="Century Gothic"/>
            </a:endParaRPr>
          </a:p>
          <a:p>
            <a:pPr marL="192405" marR="5080">
              <a:lnSpc>
                <a:spcPct val="120000"/>
              </a:lnSpc>
              <a:spcBef>
                <a:spcPts val="635"/>
              </a:spcBef>
            </a:pPr>
            <a:r>
              <a:rPr sz="1800" spc="-10" dirty="0">
                <a:latin typeface="Century Gothic"/>
                <a:cs typeface="Century Gothic"/>
              </a:rPr>
              <a:t>The </a:t>
            </a:r>
            <a:r>
              <a:rPr sz="1800" spc="-5" dirty="0">
                <a:latin typeface="Century Gothic"/>
                <a:cs typeface="Century Gothic"/>
              </a:rPr>
              <a:t>key </a:t>
            </a:r>
            <a:r>
              <a:rPr lang="en-US" sz="1800" spc="-5" dirty="0">
                <a:latin typeface="Century Gothic"/>
                <a:cs typeface="Century Gothic"/>
              </a:rPr>
              <a:t>drivers a</a:t>
            </a:r>
            <a:r>
              <a:rPr sz="1800" spc="-5" dirty="0">
                <a:latin typeface="Century Gothic"/>
                <a:cs typeface="Century Gothic"/>
              </a:rPr>
              <a:t>re </a:t>
            </a:r>
            <a:r>
              <a:rPr sz="1800" spc="5" dirty="0">
                <a:latin typeface="Century Gothic"/>
                <a:cs typeface="Century Gothic"/>
              </a:rPr>
              <a:t>in </a:t>
            </a:r>
            <a:r>
              <a:rPr sz="1800" spc="-5" dirty="0">
                <a:latin typeface="Century Gothic"/>
                <a:cs typeface="Century Gothic"/>
              </a:rPr>
              <a:t>place and </a:t>
            </a:r>
            <a:r>
              <a:rPr lang="en-US" sz="1800" spc="-5" dirty="0">
                <a:latin typeface="Century Gothic"/>
                <a:cs typeface="Century Gothic"/>
              </a:rPr>
              <a:t>significant </a:t>
            </a:r>
            <a:r>
              <a:rPr sz="1800" spc="-5" dirty="0">
                <a:latin typeface="Century Gothic"/>
                <a:cs typeface="Century Gothic"/>
              </a:rPr>
              <a:t>implementation </a:t>
            </a:r>
            <a:r>
              <a:rPr lang="en-US" sz="1800" spc="5" dirty="0">
                <a:latin typeface="Century Gothic"/>
                <a:cs typeface="Century Gothic"/>
              </a:rPr>
              <a:t>is underway.</a:t>
            </a:r>
            <a:r>
              <a:rPr sz="1800" spc="-5" dirty="0">
                <a:latin typeface="Century Gothic"/>
                <a:cs typeface="Century Gothic"/>
              </a:rPr>
              <a:t> Systemic communication </a:t>
            </a:r>
            <a:r>
              <a:rPr lang="en-US" sz="1800" spc="-5" dirty="0">
                <a:latin typeface="Century Gothic"/>
                <a:cs typeface="Century Gothic"/>
              </a:rPr>
              <a:t>of the </a:t>
            </a:r>
            <a:r>
              <a:rPr sz="1800" spc="-5" dirty="0">
                <a:latin typeface="Century Gothic"/>
                <a:cs typeface="Century Gothic"/>
              </a:rPr>
              <a:t>objectives </a:t>
            </a:r>
            <a:r>
              <a:rPr lang="en-US" dirty="0">
                <a:latin typeface="Century Gothic"/>
                <a:cs typeface="Century Gothic"/>
              </a:rPr>
              <a:t>are</a:t>
            </a:r>
            <a:r>
              <a:rPr sz="1800" spc="25" dirty="0">
                <a:latin typeface="Century Gothic"/>
                <a:cs typeface="Century Gothic"/>
              </a:rPr>
              <a:t> </a:t>
            </a:r>
            <a:r>
              <a:rPr sz="1800" spc="-10" dirty="0">
                <a:latin typeface="Century Gothic"/>
                <a:cs typeface="Century Gothic"/>
              </a:rPr>
              <a:t>underway</a:t>
            </a:r>
            <a:r>
              <a:rPr lang="en-US" sz="1800" spc="-10" dirty="0">
                <a:latin typeface="Century Gothic"/>
                <a:cs typeface="Century Gothic"/>
              </a:rPr>
              <a:t> (SG champions)</a:t>
            </a:r>
            <a:endParaRPr sz="1800" dirty="0">
              <a:latin typeface="Century Gothic"/>
              <a:cs typeface="Century Gothic"/>
            </a:endParaRPr>
          </a:p>
          <a:p>
            <a:pPr marL="12700">
              <a:lnSpc>
                <a:spcPct val="100000"/>
              </a:lnSpc>
              <a:spcBef>
                <a:spcPts val="1050"/>
              </a:spcBef>
            </a:pPr>
            <a:r>
              <a:rPr sz="2000" b="1" spc="-5" dirty="0">
                <a:latin typeface="Century Gothic"/>
                <a:cs typeface="Century Gothic"/>
              </a:rPr>
              <a:t>Stage 3: Embedding</a:t>
            </a:r>
            <a:r>
              <a:rPr sz="2000" b="1" spc="-25" dirty="0">
                <a:latin typeface="Century Gothic"/>
                <a:cs typeface="Century Gothic"/>
              </a:rPr>
              <a:t> </a:t>
            </a:r>
            <a:r>
              <a:rPr sz="2000" b="1" spc="-5" dirty="0">
                <a:latin typeface="Century Gothic"/>
                <a:cs typeface="Century Gothic"/>
              </a:rPr>
              <a:t>change</a:t>
            </a:r>
            <a:endParaRPr sz="2000" dirty="0">
              <a:latin typeface="Century Gothic"/>
              <a:cs typeface="Century Gothic"/>
            </a:endParaRPr>
          </a:p>
          <a:p>
            <a:pPr marL="192405">
              <a:lnSpc>
                <a:spcPct val="100000"/>
              </a:lnSpc>
              <a:spcBef>
                <a:spcPts val="1065"/>
              </a:spcBef>
            </a:pPr>
            <a:r>
              <a:rPr sz="1800" spc="-5" dirty="0">
                <a:latin typeface="Century Gothic"/>
                <a:cs typeface="Century Gothic"/>
              </a:rPr>
              <a:t>Implementation </a:t>
            </a:r>
            <a:r>
              <a:rPr sz="1800" spc="5" dirty="0">
                <a:latin typeface="Century Gothic"/>
                <a:cs typeface="Century Gothic"/>
              </a:rPr>
              <a:t>is </a:t>
            </a:r>
            <a:r>
              <a:rPr sz="1800" spc="-5" dirty="0">
                <a:latin typeface="Century Gothic"/>
                <a:cs typeface="Century Gothic"/>
              </a:rPr>
              <a:t>now</a:t>
            </a:r>
            <a:r>
              <a:rPr lang="en-US" sz="1800" spc="-5" dirty="0">
                <a:latin typeface="Century Gothic"/>
                <a:cs typeface="Century Gothic"/>
              </a:rPr>
              <a:t> systemic-wide: </a:t>
            </a:r>
          </a:p>
          <a:p>
            <a:pPr marL="478155" indent="-285750">
              <a:lnSpc>
                <a:spcPct val="100000"/>
              </a:lnSpc>
              <a:spcBef>
                <a:spcPts val="1065"/>
              </a:spcBef>
              <a:buFont typeface="Arial" panose="020B0604020202020204" pitchFamily="34" charset="0"/>
              <a:buChar char="•"/>
            </a:pPr>
            <a:r>
              <a:rPr lang="en-US" sz="1800" spc="-5" dirty="0">
                <a:latin typeface="Century Gothic"/>
                <a:cs typeface="Century Gothic"/>
              </a:rPr>
              <a:t>Enhanced active schools represent (39%) of Broadband active schools</a:t>
            </a:r>
          </a:p>
          <a:p>
            <a:pPr marL="478155" indent="-285750">
              <a:lnSpc>
                <a:spcPct val="100000"/>
              </a:lnSpc>
              <a:spcBef>
                <a:spcPts val="1065"/>
              </a:spcBef>
              <a:buFont typeface="Arial" panose="020B0604020202020204" pitchFamily="34" charset="0"/>
              <a:buChar char="•"/>
            </a:pPr>
            <a:r>
              <a:rPr lang="en-US" sz="1800" spc="-5" dirty="0">
                <a:latin typeface="Century Gothic"/>
                <a:cs typeface="Century Gothic"/>
              </a:rPr>
              <a:t>Schools with Wi-Fi access via the WCG </a:t>
            </a:r>
            <a:r>
              <a:rPr lang="en-US" sz="1800" spc="-5" dirty="0" err="1">
                <a:latin typeface="Century Gothic"/>
                <a:cs typeface="Century Gothic"/>
              </a:rPr>
              <a:t>Bband</a:t>
            </a:r>
            <a:r>
              <a:rPr lang="en-US" sz="1800" spc="-5" dirty="0">
                <a:latin typeface="Century Gothic"/>
                <a:cs typeface="Century Gothic"/>
              </a:rPr>
              <a:t> = 91% </a:t>
            </a:r>
            <a:r>
              <a:rPr lang="en-US" sz="1400" spc="-5" dirty="0">
                <a:latin typeface="Century Gothic"/>
                <a:cs typeface="Century Gothic"/>
              </a:rPr>
              <a:t>(1 161 of 1 273 schools)</a:t>
            </a:r>
            <a:endParaRPr lang="en-US" sz="1800" spc="-5" dirty="0">
              <a:latin typeface="Century Gothic"/>
              <a:cs typeface="Century Gothic"/>
            </a:endParaRPr>
          </a:p>
          <a:p>
            <a:pPr marL="192405">
              <a:lnSpc>
                <a:spcPct val="100000"/>
              </a:lnSpc>
              <a:spcBef>
                <a:spcPts val="1065"/>
              </a:spcBef>
            </a:pPr>
            <a:r>
              <a:rPr lang="en-US" sz="1800" spc="-5" dirty="0">
                <a:latin typeface="Century Gothic"/>
                <a:cs typeface="Century Gothic"/>
              </a:rPr>
              <a:t> </a:t>
            </a:r>
            <a:r>
              <a:rPr sz="2000" b="1" spc="-5" dirty="0">
                <a:latin typeface="Century Gothic"/>
                <a:cs typeface="Century Gothic"/>
              </a:rPr>
              <a:t>Stage 4:</a:t>
            </a:r>
            <a:r>
              <a:rPr sz="2000" b="1" spc="-10" dirty="0">
                <a:latin typeface="Century Gothic"/>
                <a:cs typeface="Century Gothic"/>
              </a:rPr>
              <a:t> </a:t>
            </a:r>
            <a:r>
              <a:rPr sz="2000" b="1" dirty="0">
                <a:latin typeface="Century Gothic"/>
                <a:cs typeface="Century Gothic"/>
              </a:rPr>
              <a:t>Irreversibility</a:t>
            </a:r>
            <a:endParaRPr sz="2000" dirty="0">
              <a:latin typeface="Century Gothic"/>
              <a:cs typeface="Century Gothic"/>
            </a:endParaRPr>
          </a:p>
          <a:p>
            <a:pPr marL="192405">
              <a:lnSpc>
                <a:spcPct val="100000"/>
              </a:lnSpc>
              <a:spcBef>
                <a:spcPts val="1070"/>
              </a:spcBef>
            </a:pPr>
            <a:r>
              <a:rPr sz="1800" spc="-5" dirty="0">
                <a:latin typeface="Century Gothic"/>
                <a:cs typeface="Century Gothic"/>
              </a:rPr>
              <a:t>Implementation </a:t>
            </a:r>
            <a:r>
              <a:rPr sz="1800" spc="5" dirty="0">
                <a:latin typeface="Century Gothic"/>
                <a:cs typeface="Century Gothic"/>
              </a:rPr>
              <a:t>is </a:t>
            </a:r>
            <a:r>
              <a:rPr sz="1800" spc="-5" dirty="0">
                <a:latin typeface="Century Gothic"/>
                <a:cs typeface="Century Gothic"/>
              </a:rPr>
              <a:t>now</a:t>
            </a:r>
            <a:r>
              <a:rPr sz="1800" spc="-30" dirty="0">
                <a:latin typeface="Century Gothic"/>
                <a:cs typeface="Century Gothic"/>
              </a:rPr>
              <a:t> </a:t>
            </a:r>
            <a:r>
              <a:rPr lang="en-US" sz="1800" spc="-5" dirty="0">
                <a:latin typeface="Century Gothic"/>
                <a:cs typeface="Century Gothic"/>
              </a:rPr>
              <a:t>reaching more than 50% of schools </a:t>
            </a:r>
            <a:endParaRPr sz="1800" dirty="0">
              <a:latin typeface="Century Gothic"/>
              <a:cs typeface="Century Gothic"/>
            </a:endParaRPr>
          </a:p>
        </p:txBody>
      </p:sp>
      <p:sp>
        <p:nvSpPr>
          <p:cNvPr id="8" name="object 8"/>
          <p:cNvSpPr/>
          <p:nvPr/>
        </p:nvSpPr>
        <p:spPr>
          <a:xfrm>
            <a:off x="346595" y="5791200"/>
            <a:ext cx="152399" cy="16001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/>
          <p:nvPr/>
        </p:nvSpPr>
        <p:spPr>
          <a:xfrm>
            <a:off x="8377428" y="1437132"/>
            <a:ext cx="335279" cy="335279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0" name="object 10"/>
          <p:cNvSpPr/>
          <p:nvPr/>
        </p:nvSpPr>
        <p:spPr>
          <a:xfrm>
            <a:off x="8377428" y="1437132"/>
            <a:ext cx="335280" cy="335280"/>
          </a:xfrm>
          <a:custGeom>
            <a:avLst/>
            <a:gdLst/>
            <a:ahLst/>
            <a:cxnLst/>
            <a:rect l="l" t="t" r="r" b="b"/>
            <a:pathLst>
              <a:path w="335279" h="335280">
                <a:moveTo>
                  <a:pt x="0" y="167639"/>
                </a:moveTo>
                <a:lnTo>
                  <a:pt x="5988" y="123075"/>
                </a:lnTo>
                <a:lnTo>
                  <a:pt x="22888" y="83029"/>
                </a:lnTo>
                <a:lnTo>
                  <a:pt x="49101" y="49101"/>
                </a:lnTo>
                <a:lnTo>
                  <a:pt x="83029" y="22888"/>
                </a:lnTo>
                <a:lnTo>
                  <a:pt x="123075" y="5988"/>
                </a:lnTo>
                <a:lnTo>
                  <a:pt x="167640" y="0"/>
                </a:lnTo>
                <a:lnTo>
                  <a:pt x="212204" y="5988"/>
                </a:lnTo>
                <a:lnTo>
                  <a:pt x="252250" y="22888"/>
                </a:lnTo>
                <a:lnTo>
                  <a:pt x="286178" y="49101"/>
                </a:lnTo>
                <a:lnTo>
                  <a:pt x="312391" y="83029"/>
                </a:lnTo>
                <a:lnTo>
                  <a:pt x="329291" y="123075"/>
                </a:lnTo>
                <a:lnTo>
                  <a:pt x="335279" y="167639"/>
                </a:lnTo>
                <a:lnTo>
                  <a:pt x="329291" y="212204"/>
                </a:lnTo>
                <a:lnTo>
                  <a:pt x="312391" y="252250"/>
                </a:lnTo>
                <a:lnTo>
                  <a:pt x="286178" y="286178"/>
                </a:lnTo>
                <a:lnTo>
                  <a:pt x="252250" y="312391"/>
                </a:lnTo>
                <a:lnTo>
                  <a:pt x="212204" y="329291"/>
                </a:lnTo>
                <a:lnTo>
                  <a:pt x="167640" y="335279"/>
                </a:lnTo>
                <a:lnTo>
                  <a:pt x="123075" y="329291"/>
                </a:lnTo>
                <a:lnTo>
                  <a:pt x="83029" y="312391"/>
                </a:lnTo>
                <a:lnTo>
                  <a:pt x="49101" y="286178"/>
                </a:lnTo>
                <a:lnTo>
                  <a:pt x="22888" y="252250"/>
                </a:lnTo>
                <a:lnTo>
                  <a:pt x="5988" y="212204"/>
                </a:lnTo>
                <a:lnTo>
                  <a:pt x="0" y="167639"/>
                </a:lnTo>
                <a:close/>
              </a:path>
            </a:pathLst>
          </a:custGeom>
          <a:ln w="9144">
            <a:solidFill>
              <a:srgbClr val="0099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8377428" y="2372867"/>
            <a:ext cx="335279" cy="336804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/>
          <p:nvPr/>
        </p:nvSpPr>
        <p:spPr>
          <a:xfrm>
            <a:off x="8377428" y="2372867"/>
            <a:ext cx="335280" cy="337185"/>
          </a:xfrm>
          <a:custGeom>
            <a:avLst/>
            <a:gdLst/>
            <a:ahLst/>
            <a:cxnLst/>
            <a:rect l="l" t="t" r="r" b="b"/>
            <a:pathLst>
              <a:path w="335279" h="337185">
                <a:moveTo>
                  <a:pt x="0" y="168402"/>
                </a:moveTo>
                <a:lnTo>
                  <a:pt x="5988" y="123648"/>
                </a:lnTo>
                <a:lnTo>
                  <a:pt x="22888" y="83424"/>
                </a:lnTo>
                <a:lnTo>
                  <a:pt x="49101" y="49339"/>
                </a:lnTo>
                <a:lnTo>
                  <a:pt x="83029" y="23001"/>
                </a:lnTo>
                <a:lnTo>
                  <a:pt x="123075" y="6018"/>
                </a:lnTo>
                <a:lnTo>
                  <a:pt x="167640" y="0"/>
                </a:lnTo>
                <a:lnTo>
                  <a:pt x="212204" y="6018"/>
                </a:lnTo>
                <a:lnTo>
                  <a:pt x="252250" y="23001"/>
                </a:lnTo>
                <a:lnTo>
                  <a:pt x="286178" y="49339"/>
                </a:lnTo>
                <a:lnTo>
                  <a:pt x="312391" y="83424"/>
                </a:lnTo>
                <a:lnTo>
                  <a:pt x="329291" y="123648"/>
                </a:lnTo>
                <a:lnTo>
                  <a:pt x="335279" y="168402"/>
                </a:lnTo>
                <a:lnTo>
                  <a:pt x="329291" y="213155"/>
                </a:lnTo>
                <a:lnTo>
                  <a:pt x="312391" y="253379"/>
                </a:lnTo>
                <a:lnTo>
                  <a:pt x="286178" y="287464"/>
                </a:lnTo>
                <a:lnTo>
                  <a:pt x="252250" y="313802"/>
                </a:lnTo>
                <a:lnTo>
                  <a:pt x="212204" y="330785"/>
                </a:lnTo>
                <a:lnTo>
                  <a:pt x="167640" y="336804"/>
                </a:lnTo>
                <a:lnTo>
                  <a:pt x="123075" y="330785"/>
                </a:lnTo>
                <a:lnTo>
                  <a:pt x="83029" y="313802"/>
                </a:lnTo>
                <a:lnTo>
                  <a:pt x="49101" y="287464"/>
                </a:lnTo>
                <a:lnTo>
                  <a:pt x="22888" y="253379"/>
                </a:lnTo>
                <a:lnTo>
                  <a:pt x="5988" y="213155"/>
                </a:lnTo>
                <a:lnTo>
                  <a:pt x="0" y="168402"/>
                </a:lnTo>
                <a:close/>
              </a:path>
            </a:pathLst>
          </a:custGeom>
          <a:ln w="9144">
            <a:solidFill>
              <a:srgbClr val="0099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3" name="object 13"/>
          <p:cNvSpPr/>
          <p:nvPr/>
        </p:nvSpPr>
        <p:spPr>
          <a:xfrm>
            <a:off x="8377428" y="3596640"/>
            <a:ext cx="335279" cy="336804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8377428" y="3596640"/>
            <a:ext cx="335280" cy="337185"/>
          </a:xfrm>
          <a:custGeom>
            <a:avLst/>
            <a:gdLst/>
            <a:ahLst/>
            <a:cxnLst/>
            <a:rect l="l" t="t" r="r" b="b"/>
            <a:pathLst>
              <a:path w="335279" h="337185">
                <a:moveTo>
                  <a:pt x="0" y="168402"/>
                </a:moveTo>
                <a:lnTo>
                  <a:pt x="5988" y="123648"/>
                </a:lnTo>
                <a:lnTo>
                  <a:pt x="22888" y="83424"/>
                </a:lnTo>
                <a:lnTo>
                  <a:pt x="49101" y="49339"/>
                </a:lnTo>
                <a:lnTo>
                  <a:pt x="83029" y="23001"/>
                </a:lnTo>
                <a:lnTo>
                  <a:pt x="123075" y="6018"/>
                </a:lnTo>
                <a:lnTo>
                  <a:pt x="167640" y="0"/>
                </a:lnTo>
                <a:lnTo>
                  <a:pt x="212204" y="6018"/>
                </a:lnTo>
                <a:lnTo>
                  <a:pt x="252250" y="23001"/>
                </a:lnTo>
                <a:lnTo>
                  <a:pt x="286178" y="49339"/>
                </a:lnTo>
                <a:lnTo>
                  <a:pt x="312391" y="83424"/>
                </a:lnTo>
                <a:lnTo>
                  <a:pt x="329291" y="123648"/>
                </a:lnTo>
                <a:lnTo>
                  <a:pt x="335279" y="168402"/>
                </a:lnTo>
                <a:lnTo>
                  <a:pt x="329291" y="213155"/>
                </a:lnTo>
                <a:lnTo>
                  <a:pt x="312391" y="253379"/>
                </a:lnTo>
                <a:lnTo>
                  <a:pt x="286178" y="287464"/>
                </a:lnTo>
                <a:lnTo>
                  <a:pt x="252250" y="313802"/>
                </a:lnTo>
                <a:lnTo>
                  <a:pt x="212204" y="330785"/>
                </a:lnTo>
                <a:lnTo>
                  <a:pt x="167640" y="336804"/>
                </a:lnTo>
                <a:lnTo>
                  <a:pt x="123075" y="330785"/>
                </a:lnTo>
                <a:lnTo>
                  <a:pt x="83029" y="313802"/>
                </a:lnTo>
                <a:lnTo>
                  <a:pt x="49101" y="287464"/>
                </a:lnTo>
                <a:lnTo>
                  <a:pt x="22888" y="253379"/>
                </a:lnTo>
                <a:lnTo>
                  <a:pt x="5988" y="213155"/>
                </a:lnTo>
                <a:lnTo>
                  <a:pt x="0" y="168402"/>
                </a:lnTo>
                <a:close/>
              </a:path>
            </a:pathLst>
          </a:custGeom>
          <a:ln w="9143">
            <a:solidFill>
              <a:srgbClr val="0099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/>
          <p:nvPr/>
        </p:nvSpPr>
        <p:spPr>
          <a:xfrm>
            <a:off x="8377428" y="3612118"/>
            <a:ext cx="335279" cy="336803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16"/>
          <p:cNvSpPr/>
          <p:nvPr/>
        </p:nvSpPr>
        <p:spPr>
          <a:xfrm>
            <a:off x="8366506" y="3608767"/>
            <a:ext cx="335280" cy="337185"/>
          </a:xfrm>
          <a:custGeom>
            <a:avLst/>
            <a:gdLst/>
            <a:ahLst/>
            <a:cxnLst/>
            <a:rect l="l" t="t" r="r" b="b"/>
            <a:pathLst>
              <a:path w="335279" h="337185">
                <a:moveTo>
                  <a:pt x="0" y="168401"/>
                </a:moveTo>
                <a:lnTo>
                  <a:pt x="5988" y="123648"/>
                </a:lnTo>
                <a:lnTo>
                  <a:pt x="22888" y="83424"/>
                </a:lnTo>
                <a:lnTo>
                  <a:pt x="49101" y="49339"/>
                </a:lnTo>
                <a:lnTo>
                  <a:pt x="83029" y="23001"/>
                </a:lnTo>
                <a:lnTo>
                  <a:pt x="123075" y="6018"/>
                </a:lnTo>
                <a:lnTo>
                  <a:pt x="167640" y="0"/>
                </a:lnTo>
                <a:lnTo>
                  <a:pt x="212204" y="6018"/>
                </a:lnTo>
                <a:lnTo>
                  <a:pt x="252250" y="23001"/>
                </a:lnTo>
                <a:lnTo>
                  <a:pt x="286178" y="49339"/>
                </a:lnTo>
                <a:lnTo>
                  <a:pt x="312391" y="83424"/>
                </a:lnTo>
                <a:lnTo>
                  <a:pt x="329291" y="123648"/>
                </a:lnTo>
                <a:lnTo>
                  <a:pt x="335279" y="168401"/>
                </a:lnTo>
                <a:lnTo>
                  <a:pt x="329291" y="213155"/>
                </a:lnTo>
                <a:lnTo>
                  <a:pt x="312391" y="253379"/>
                </a:lnTo>
                <a:lnTo>
                  <a:pt x="286178" y="287464"/>
                </a:lnTo>
                <a:lnTo>
                  <a:pt x="252250" y="313802"/>
                </a:lnTo>
                <a:lnTo>
                  <a:pt x="212204" y="330785"/>
                </a:lnTo>
                <a:lnTo>
                  <a:pt x="167640" y="336803"/>
                </a:lnTo>
                <a:lnTo>
                  <a:pt x="123075" y="330785"/>
                </a:lnTo>
                <a:lnTo>
                  <a:pt x="83029" y="313802"/>
                </a:lnTo>
                <a:lnTo>
                  <a:pt x="49101" y="287464"/>
                </a:lnTo>
                <a:lnTo>
                  <a:pt x="22888" y="253379"/>
                </a:lnTo>
                <a:lnTo>
                  <a:pt x="5988" y="213155"/>
                </a:lnTo>
                <a:lnTo>
                  <a:pt x="0" y="168401"/>
                </a:lnTo>
                <a:close/>
              </a:path>
            </a:pathLst>
          </a:custGeom>
          <a:ln w="9144">
            <a:solidFill>
              <a:srgbClr val="009900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17"/>
          <p:cNvSpPr txBox="1"/>
          <p:nvPr/>
        </p:nvSpPr>
        <p:spPr>
          <a:xfrm>
            <a:off x="8804020" y="6536172"/>
            <a:ext cx="114300" cy="16573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25400">
              <a:lnSpc>
                <a:spcPct val="100000"/>
              </a:lnSpc>
              <a:spcBef>
                <a:spcPts val="105"/>
              </a:spcBef>
            </a:pPr>
            <a:fld id="{81D60167-4931-47E6-BA6A-407CBD079E47}" type="slidenum">
              <a:rPr sz="900" dirty="0">
                <a:solidFill>
                  <a:srgbClr val="003399"/>
                </a:solidFill>
                <a:latin typeface="Century Gothic"/>
                <a:cs typeface="Century Gothic"/>
              </a:rPr>
              <a:pPr marL="25400">
                <a:lnSpc>
                  <a:spcPct val="100000"/>
                </a:lnSpc>
                <a:spcBef>
                  <a:spcPts val="105"/>
                </a:spcBef>
              </a:pPr>
              <a:t>17</a:t>
            </a:fld>
            <a:endParaRPr sz="900" dirty="0">
              <a:latin typeface="Century Gothic"/>
              <a:cs typeface="Century Gothic"/>
            </a:endParaRPr>
          </a:p>
        </p:txBody>
      </p:sp>
      <p:sp>
        <p:nvSpPr>
          <p:cNvPr id="18" name="object 18"/>
          <p:cNvSpPr txBox="1"/>
          <p:nvPr/>
        </p:nvSpPr>
        <p:spPr>
          <a:xfrm>
            <a:off x="2120645" y="6562456"/>
            <a:ext cx="3251200" cy="15113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sz="800" dirty="0">
                <a:solidFill>
                  <a:srgbClr val="998F85"/>
                </a:solidFill>
                <a:latin typeface="Century Gothic"/>
                <a:cs typeface="Century Gothic"/>
              </a:rPr>
              <a:t>© </a:t>
            </a:r>
            <a:r>
              <a:rPr sz="800" spc="-5" dirty="0">
                <a:solidFill>
                  <a:srgbClr val="998F85"/>
                </a:solidFill>
                <a:latin typeface="Century Gothic"/>
                <a:cs typeface="Century Gothic"/>
              </a:rPr>
              <a:t>Western </a:t>
            </a:r>
            <a:r>
              <a:rPr sz="800" dirty="0">
                <a:solidFill>
                  <a:srgbClr val="998F85"/>
                </a:solidFill>
                <a:latin typeface="Century Gothic"/>
                <a:cs typeface="Century Gothic"/>
              </a:rPr>
              <a:t>Cape Government </a:t>
            </a:r>
            <a:r>
              <a:rPr sz="800" spc="-5" dirty="0">
                <a:solidFill>
                  <a:srgbClr val="998F85"/>
                </a:solidFill>
                <a:latin typeface="Century Gothic"/>
                <a:cs typeface="Century Gothic"/>
              </a:rPr>
              <a:t>2012 </a:t>
            </a:r>
            <a:r>
              <a:rPr sz="800" dirty="0">
                <a:solidFill>
                  <a:srgbClr val="998F85"/>
                </a:solidFill>
                <a:latin typeface="Century Gothic"/>
                <a:cs typeface="Century Gothic"/>
              </a:rPr>
              <a:t>| eLearning Game</a:t>
            </a:r>
            <a:r>
              <a:rPr sz="800" spc="-30" dirty="0">
                <a:solidFill>
                  <a:srgbClr val="998F85"/>
                </a:solidFill>
                <a:latin typeface="Century Gothic"/>
                <a:cs typeface="Century Gothic"/>
              </a:rPr>
              <a:t> </a:t>
            </a:r>
            <a:r>
              <a:rPr sz="800" dirty="0">
                <a:solidFill>
                  <a:srgbClr val="998F85"/>
                </a:solidFill>
                <a:latin typeface="Century Gothic"/>
                <a:cs typeface="Century Gothic"/>
              </a:rPr>
              <a:t>Changer</a:t>
            </a:r>
            <a:endParaRPr sz="800">
              <a:latin typeface="Century Gothic"/>
              <a:cs typeface="Century Gothic"/>
            </a:endParaRPr>
          </a:p>
        </p:txBody>
      </p:sp>
      <p:sp>
        <p:nvSpPr>
          <p:cNvPr id="20" name="object 24"/>
          <p:cNvSpPr/>
          <p:nvPr/>
        </p:nvSpPr>
        <p:spPr>
          <a:xfrm>
            <a:off x="8353276" y="5718885"/>
            <a:ext cx="335279" cy="33528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04801" y="2480310"/>
            <a:ext cx="8610600" cy="505908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5"/>
              </a:spcBef>
            </a:pPr>
            <a:r>
              <a:rPr lang="en-US" sz="3200" dirty="0">
                <a:solidFill>
                  <a:schemeClr val="bg1"/>
                </a:solidFill>
                <a:latin typeface="Century Gothic"/>
                <a:cs typeface="Century Gothic"/>
              </a:rPr>
              <a:t>What worked vs What did not work </a:t>
            </a:r>
            <a:endParaRPr sz="3200" dirty="0">
              <a:solidFill>
                <a:schemeClr val="bg1"/>
              </a:solidFill>
              <a:latin typeface="Century Gothic"/>
              <a:cs typeface="Century Gothic"/>
            </a:endParaRPr>
          </a:p>
        </p:txBody>
      </p:sp>
      <p:sp>
        <p:nvSpPr>
          <p:cNvPr id="3" name="object 3"/>
          <p:cNvSpPr txBox="1"/>
          <p:nvPr/>
        </p:nvSpPr>
        <p:spPr>
          <a:xfrm>
            <a:off x="4993640" y="6563055"/>
            <a:ext cx="1340485" cy="14795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800" dirty="0">
                <a:solidFill>
                  <a:srgbClr val="998F85"/>
                </a:solidFill>
                <a:latin typeface="Century Gothic"/>
                <a:cs typeface="Century Gothic"/>
              </a:rPr>
              <a:t>eLearning Game</a:t>
            </a:r>
            <a:r>
              <a:rPr sz="800" spc="-70" dirty="0">
                <a:solidFill>
                  <a:srgbClr val="998F85"/>
                </a:solidFill>
                <a:latin typeface="Century Gothic"/>
                <a:cs typeface="Century Gothic"/>
              </a:rPr>
              <a:t> </a:t>
            </a:r>
            <a:r>
              <a:rPr sz="800" dirty="0">
                <a:solidFill>
                  <a:srgbClr val="998F85"/>
                </a:solidFill>
                <a:latin typeface="Century Gothic"/>
                <a:cs typeface="Century Gothic"/>
              </a:rPr>
              <a:t>Changer</a:t>
            </a:r>
            <a:endParaRPr sz="800">
              <a:latin typeface="Century Gothic"/>
              <a:cs typeface="Century Gothic"/>
            </a:endParaRP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Title 1">
            <a:extLst>
              <a:ext uri="{FF2B5EF4-FFF2-40B4-BE49-F238E27FC236}">
                <a16:creationId xmlns:a16="http://schemas.microsoft.com/office/drawing/2014/main" xmlns="" id="{5BF72297-AE3C-4C91-B2E8-D42D4443C5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89460" y="1063228"/>
            <a:ext cx="6172200" cy="651272"/>
          </a:xfrm>
        </p:spPr>
        <p:txBody>
          <a:bodyPr/>
          <a:lstStyle/>
          <a:p>
            <a:r>
              <a:rPr lang="en-ZA" altLang="en-US">
                <a:latin typeface="Century Gothic" panose="020B0502020202020204" pitchFamily="34" charset="0"/>
                <a:ea typeface="Century Gothic" panose="020B0502020202020204" pitchFamily="34" charset="0"/>
                <a:cs typeface="Century Gothic" panose="020B0502020202020204" pitchFamily="34" charset="0"/>
              </a:rPr>
              <a:t>A - Directorate eLearning </a:t>
            </a:r>
          </a:p>
        </p:txBody>
      </p:sp>
      <p:graphicFrame>
        <p:nvGraphicFramePr>
          <p:cNvPr id="2" name="Content Placeholder 1">
            <a:extLst>
              <a:ext uri="{FF2B5EF4-FFF2-40B4-BE49-F238E27FC236}">
                <a16:creationId xmlns:a16="http://schemas.microsoft.com/office/drawing/2014/main" xmlns="" id="{220FBBA1-7A54-484D-9C80-873BB2E98981}"/>
              </a:ext>
            </a:extLst>
          </p:cNvPr>
          <p:cNvGraphicFramePr>
            <a:graphicFrameLocks noGrp="1"/>
          </p:cNvGraphicFramePr>
          <p:nvPr>
            <p:ph idx="4294967295"/>
            <p:extLst/>
          </p:nvPr>
        </p:nvGraphicFramePr>
        <p:xfrm>
          <a:off x="-19050" y="1004888"/>
          <a:ext cx="9162611" cy="59323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20768">
                  <a:extLst>
                    <a:ext uri="{9D8B030D-6E8A-4147-A177-3AD203B41FA5}">
                      <a16:colId xmlns:a16="http://schemas.microsoft.com/office/drawing/2014/main" xmlns="" val="2134944845"/>
                    </a:ext>
                  </a:extLst>
                </a:gridCol>
                <a:gridCol w="3487640">
                  <a:extLst>
                    <a:ext uri="{9D8B030D-6E8A-4147-A177-3AD203B41FA5}">
                      <a16:colId xmlns:a16="http://schemas.microsoft.com/office/drawing/2014/main" xmlns="" val="2259675959"/>
                    </a:ext>
                  </a:extLst>
                </a:gridCol>
                <a:gridCol w="3054203">
                  <a:extLst>
                    <a:ext uri="{9D8B030D-6E8A-4147-A177-3AD203B41FA5}">
                      <a16:colId xmlns:a16="http://schemas.microsoft.com/office/drawing/2014/main" xmlns="" val="2012045468"/>
                    </a:ext>
                  </a:extLst>
                </a:gridCol>
              </a:tblGrid>
              <a:tr h="617250">
                <a:tc>
                  <a:txBody>
                    <a:bodyPr/>
                    <a:lstStyle/>
                    <a:p>
                      <a:r>
                        <a:rPr lang="en-ZA" sz="1800" dirty="0"/>
                        <a:t>WHAT</a:t>
                      </a:r>
                      <a:r>
                        <a:rPr lang="en-ZA" sz="1800" baseline="0" dirty="0"/>
                        <a:t> WORKED</a:t>
                      </a:r>
                      <a:endParaRPr lang="en-ZA" sz="1800" dirty="0"/>
                    </a:p>
                  </a:txBody>
                  <a:tcPr marL="68569" marR="68569" marT="34305" marB="34305"/>
                </a:tc>
                <a:tc>
                  <a:txBody>
                    <a:bodyPr/>
                    <a:lstStyle/>
                    <a:p>
                      <a:r>
                        <a:rPr lang="en-ZA" sz="1800" dirty="0"/>
                        <a:t>REASON</a:t>
                      </a:r>
                      <a:r>
                        <a:rPr lang="en-ZA" sz="1800" baseline="0" dirty="0"/>
                        <a:t> FOR SUCCESS</a:t>
                      </a:r>
                      <a:endParaRPr lang="en-ZA" sz="1800" dirty="0"/>
                    </a:p>
                  </a:txBody>
                  <a:tcPr marL="68569" marR="68569" marT="34305" marB="34305"/>
                </a:tc>
                <a:tc>
                  <a:txBody>
                    <a:bodyPr/>
                    <a:lstStyle/>
                    <a:p>
                      <a:r>
                        <a:rPr lang="en-ZA" sz="1800" dirty="0"/>
                        <a:t>FUTURE STRATEGY FOR 2019</a:t>
                      </a:r>
                    </a:p>
                  </a:txBody>
                  <a:tcPr marL="68569" marR="68569" marT="34305" marB="34305"/>
                </a:tc>
                <a:extLst>
                  <a:ext uri="{0D108BD9-81ED-4DB2-BD59-A6C34878D82A}">
                    <a16:rowId xmlns:a16="http://schemas.microsoft.com/office/drawing/2014/main" xmlns="" val="1681142410"/>
                  </a:ext>
                </a:extLst>
              </a:tr>
              <a:tr h="1371630">
                <a:tc>
                  <a:txBody>
                    <a:bodyPr/>
                    <a:lstStyle/>
                    <a:p>
                      <a:r>
                        <a:rPr lang="en-ZA" sz="1500" b="1" dirty="0"/>
                        <a:t>Creating the </a:t>
                      </a:r>
                      <a:r>
                        <a:rPr lang="en-ZA" sz="1500" b="1" dirty="0" err="1"/>
                        <a:t>eEducation</a:t>
                      </a:r>
                      <a:r>
                        <a:rPr lang="en-ZA" sz="1500" b="1" dirty="0"/>
                        <a:t> enabling </a:t>
                      </a:r>
                      <a:r>
                        <a:rPr lang="en-ZA" sz="1500" b="1" baseline="0" dirty="0"/>
                        <a:t> environment/s</a:t>
                      </a:r>
                      <a:endParaRPr lang="en-ZA" sz="1500" b="1" dirty="0"/>
                    </a:p>
                  </a:txBody>
                  <a:tcPr marL="68569" marR="68569" marT="34305" marB="34305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ZA" sz="1400" b="1" dirty="0"/>
                        <a:t>Project target-setting methodology </a:t>
                      </a:r>
                      <a:r>
                        <a:rPr lang="en-ZA" sz="1400" dirty="0"/>
                        <a:t>approach fully-supported by WCG/WCED as a</a:t>
                      </a:r>
                      <a:r>
                        <a:rPr lang="en-ZA" sz="1400" baseline="0" dirty="0"/>
                        <a:t> focus: Game Changer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ZA" sz="1400" b="1" baseline="0" dirty="0"/>
                        <a:t>Data-Centric approach </a:t>
                      </a:r>
                      <a:r>
                        <a:rPr lang="en-ZA" sz="1400" b="0" baseline="0" dirty="0"/>
                        <a:t>programme</a:t>
                      </a:r>
                      <a:endParaRPr lang="en-ZA" sz="1400" b="0" dirty="0"/>
                    </a:p>
                  </a:txBody>
                  <a:tcPr marL="68569" marR="68569" marT="34305" marB="34305"/>
                </a:tc>
                <a:tc>
                  <a:txBody>
                    <a:bodyPr/>
                    <a:lstStyle/>
                    <a:p>
                      <a:r>
                        <a:rPr lang="en-ZA" sz="1400" dirty="0"/>
                        <a:t>The institutionalization</a:t>
                      </a:r>
                      <a:r>
                        <a:rPr lang="en-ZA" sz="1400" baseline="0" dirty="0"/>
                        <a:t> of the e-Education structure and methodology, </a:t>
                      </a:r>
                      <a:endParaRPr lang="en-ZA" sz="1400" dirty="0"/>
                    </a:p>
                  </a:txBody>
                  <a:tcPr marL="68569" marR="68569" marT="34305" marB="34305"/>
                </a:tc>
                <a:extLst>
                  <a:ext uri="{0D108BD9-81ED-4DB2-BD59-A6C34878D82A}">
                    <a16:rowId xmlns:a16="http://schemas.microsoft.com/office/drawing/2014/main" xmlns="" val="825883418"/>
                  </a:ext>
                </a:extLst>
              </a:tr>
              <a:tr h="983010">
                <a:tc>
                  <a:txBody>
                    <a:bodyPr/>
                    <a:lstStyle/>
                    <a:p>
                      <a:r>
                        <a:rPr lang="en-ZA" sz="1500" b="1" dirty="0"/>
                        <a:t>Broadband Connectivity penetration</a:t>
                      </a:r>
                      <a:r>
                        <a:rPr lang="en-ZA" sz="1500" b="1" baseline="0" dirty="0"/>
                        <a:t> reaching 98% of WCED public school learners</a:t>
                      </a:r>
                      <a:endParaRPr lang="en-ZA" sz="1500" b="1" dirty="0"/>
                    </a:p>
                  </a:txBody>
                  <a:tcPr marL="68569" marR="68569" marT="34305" marB="34305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ZA" sz="1400" b="1" dirty="0"/>
                        <a:t>Aspirational</a:t>
                      </a:r>
                      <a:r>
                        <a:rPr lang="en-ZA" sz="1400" b="1" baseline="0" dirty="0"/>
                        <a:t> yet </a:t>
                      </a:r>
                      <a:r>
                        <a:rPr lang="en-ZA" sz="1400" b="1" dirty="0"/>
                        <a:t>realistic goals </a:t>
                      </a:r>
                      <a:r>
                        <a:rPr lang="en-ZA" sz="1400" dirty="0"/>
                        <a:t>set with necessary resources identified</a:t>
                      </a:r>
                      <a:r>
                        <a:rPr lang="en-ZA" sz="1400" baseline="0" dirty="0"/>
                        <a:t> and clearly scoped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ZA" sz="1400" b="1" baseline="0" dirty="0"/>
                        <a:t>Committed government</a:t>
                      </a:r>
                      <a:endParaRPr lang="en-ZA" sz="1400" b="1" dirty="0"/>
                    </a:p>
                  </a:txBody>
                  <a:tcPr marL="68569" marR="68569" marT="34305" marB="34305"/>
                </a:tc>
                <a:tc>
                  <a:txBody>
                    <a:bodyPr/>
                    <a:lstStyle/>
                    <a:p>
                      <a:r>
                        <a:rPr lang="en-ZA" sz="1400" dirty="0"/>
                        <a:t>Ensuring that the quality of service (</a:t>
                      </a:r>
                      <a:r>
                        <a:rPr lang="en-ZA" sz="1400" dirty="0" err="1"/>
                        <a:t>QoS</a:t>
                      </a:r>
                      <a:r>
                        <a:rPr lang="en-ZA" sz="1400" dirty="0"/>
                        <a:t>) is within the range expected</a:t>
                      </a:r>
                      <a:r>
                        <a:rPr lang="en-ZA" sz="1400" baseline="0" dirty="0"/>
                        <a:t> and extended to cover all learners/ schools.</a:t>
                      </a:r>
                      <a:endParaRPr lang="en-ZA" sz="1400" dirty="0"/>
                    </a:p>
                  </a:txBody>
                  <a:tcPr marL="68569" marR="68569" marT="34305" marB="34305"/>
                </a:tc>
                <a:extLst>
                  <a:ext uri="{0D108BD9-81ED-4DB2-BD59-A6C34878D82A}">
                    <a16:rowId xmlns:a16="http://schemas.microsoft.com/office/drawing/2014/main" xmlns="" val="3049955826"/>
                  </a:ext>
                </a:extLst>
              </a:tr>
              <a:tr h="1371630">
                <a:tc>
                  <a:txBody>
                    <a:bodyPr/>
                    <a:lstStyle/>
                    <a:p>
                      <a:r>
                        <a:rPr lang="en-ZA" sz="1500" b="1" dirty="0"/>
                        <a:t>Connectedness</a:t>
                      </a:r>
                      <a:r>
                        <a:rPr lang="en-ZA" sz="1500" b="1" baseline="0" dirty="0"/>
                        <a:t> within schools through </a:t>
                      </a:r>
                      <a:r>
                        <a:rPr lang="en-ZA" sz="1500" b="1" baseline="0" dirty="0" err="1"/>
                        <a:t>wi-fi</a:t>
                      </a:r>
                      <a:r>
                        <a:rPr lang="en-ZA" sz="1500" b="1" baseline="0" dirty="0"/>
                        <a:t> into classrooms</a:t>
                      </a:r>
                      <a:endParaRPr lang="en-ZA" sz="1500" b="1" dirty="0"/>
                    </a:p>
                  </a:txBody>
                  <a:tcPr marL="68569" marR="68569" marT="34305" marB="34305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ZA" sz="1400" dirty="0"/>
                        <a:t>A </a:t>
                      </a:r>
                      <a:r>
                        <a:rPr lang="en-ZA" sz="1400" b="1" dirty="0"/>
                        <a:t>measured approach</a:t>
                      </a:r>
                      <a:r>
                        <a:rPr lang="en-ZA" sz="1400" b="1" baseline="0" dirty="0"/>
                        <a:t> </a:t>
                      </a:r>
                      <a:r>
                        <a:rPr lang="en-ZA" sz="1400" baseline="0" dirty="0"/>
                        <a:t>ensured that previous and other projects dove-tail with this major project.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ZA" sz="1400" b="1" baseline="0" dirty="0"/>
                        <a:t>Committed people </a:t>
                      </a:r>
                      <a:r>
                        <a:rPr lang="en-ZA" sz="1400" baseline="0" dirty="0"/>
                        <a:t>and efforts acknowledged.</a:t>
                      </a:r>
                      <a:endParaRPr lang="en-ZA" sz="1400" dirty="0"/>
                    </a:p>
                  </a:txBody>
                  <a:tcPr marL="68569" marR="68569" marT="34305" marB="34305"/>
                </a:tc>
                <a:tc>
                  <a:txBody>
                    <a:bodyPr/>
                    <a:lstStyle/>
                    <a:p>
                      <a:r>
                        <a:rPr lang="en-ZA" sz="1400" dirty="0"/>
                        <a:t>Growth beyond the initial third</a:t>
                      </a:r>
                      <a:r>
                        <a:rPr lang="en-ZA" sz="1400" baseline="0" dirty="0"/>
                        <a:t> of schools that have full </a:t>
                      </a:r>
                      <a:r>
                        <a:rPr lang="en-ZA" sz="1400" baseline="0" dirty="0" err="1"/>
                        <a:t>wi-fi</a:t>
                      </a:r>
                      <a:r>
                        <a:rPr lang="en-ZA" sz="1400" baseline="0" dirty="0"/>
                        <a:t>. Expand the two-thirds of schools that have partial </a:t>
                      </a:r>
                      <a:r>
                        <a:rPr lang="en-ZA" sz="1400" baseline="0" dirty="0" err="1"/>
                        <a:t>wi-fi</a:t>
                      </a:r>
                      <a:r>
                        <a:rPr lang="en-ZA" sz="1400" baseline="0" dirty="0"/>
                        <a:t> to full </a:t>
                      </a:r>
                      <a:r>
                        <a:rPr lang="en-ZA" sz="1400" baseline="0" dirty="0" err="1"/>
                        <a:t>wi-fi</a:t>
                      </a:r>
                      <a:r>
                        <a:rPr lang="en-ZA" sz="1400" baseline="0" dirty="0"/>
                        <a:t>. Maintain the base and refine processes of sustainability</a:t>
                      </a:r>
                      <a:endParaRPr lang="en-ZA" sz="1400" dirty="0"/>
                    </a:p>
                  </a:txBody>
                  <a:tcPr marL="68569" marR="68569" marT="34305" marB="34305"/>
                </a:tc>
                <a:extLst>
                  <a:ext uri="{0D108BD9-81ED-4DB2-BD59-A6C34878D82A}">
                    <a16:rowId xmlns:a16="http://schemas.microsoft.com/office/drawing/2014/main" xmlns="" val="3253669184"/>
                  </a:ext>
                </a:extLst>
              </a:tr>
              <a:tr h="1588800">
                <a:tc>
                  <a:txBody>
                    <a:bodyPr/>
                    <a:lstStyle/>
                    <a:p>
                      <a:r>
                        <a:rPr lang="en-ZA" sz="1500" b="1" dirty="0"/>
                        <a:t>Technology provisioning and sustainability modelling</a:t>
                      </a:r>
                    </a:p>
                  </a:txBody>
                  <a:tcPr marL="68569" marR="68569" marT="34305" marB="34305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ZA" sz="1400" dirty="0"/>
                        <a:t>Careful planning and execution </a:t>
                      </a:r>
                      <a:r>
                        <a:rPr lang="en-ZA" sz="1400" b="1" dirty="0"/>
                        <a:t>in collaboration </a:t>
                      </a:r>
                      <a:r>
                        <a:rPr lang="en-ZA" sz="1400" dirty="0"/>
                        <a:t>with</a:t>
                      </a:r>
                      <a:r>
                        <a:rPr lang="en-ZA" sz="1400" baseline="0" dirty="0"/>
                        <a:t> other state agencies and industry.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ZA" sz="1400" baseline="0" dirty="0"/>
                        <a:t>Ensuring that </a:t>
                      </a:r>
                      <a:r>
                        <a:rPr lang="en-ZA" sz="1400" b="1" baseline="0" dirty="0"/>
                        <a:t>landed technology works</a:t>
                      </a:r>
                      <a:r>
                        <a:rPr lang="en-ZA" sz="1400" baseline="0" dirty="0"/>
                        <a:t> in sync with existing systems.</a:t>
                      </a:r>
                      <a:endParaRPr lang="en-ZA" sz="1400" dirty="0"/>
                    </a:p>
                  </a:txBody>
                  <a:tcPr marL="68569" marR="68569" marT="34305" marB="34305"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ZA" sz="1400" dirty="0"/>
                        <a:t>Collaboration with state agencies;</a:t>
                      </a:r>
                      <a:r>
                        <a:rPr lang="en-ZA" sz="1400" baseline="0" dirty="0"/>
                        <a:t> </a:t>
                      </a:r>
                      <a:r>
                        <a:rPr lang="en-ZA" sz="1400" dirty="0"/>
                        <a:t>ensuring that procurement turn-around is quicker</a:t>
                      </a:r>
                      <a:r>
                        <a:rPr lang="en-ZA" sz="1400" baseline="0" dirty="0"/>
                        <a:t> with no challenges from </a:t>
                      </a:r>
                      <a:r>
                        <a:rPr lang="en-ZA" sz="1400" dirty="0"/>
                        <a:t>industry. 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ubject-specific tech are on a cyclical refresh program </a:t>
                      </a:r>
                      <a:endParaRPr lang="en-ZA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69" marR="68569" marT="34305" marB="34305"/>
                </a:tc>
                <a:extLst>
                  <a:ext uri="{0D108BD9-81ED-4DB2-BD59-A6C34878D82A}">
                    <a16:rowId xmlns:a16="http://schemas.microsoft.com/office/drawing/2014/main" xmlns="" val="3593546579"/>
                  </a:ext>
                </a:extLst>
              </a:tr>
            </a:tbl>
          </a:graphicData>
        </a:graphic>
      </p:graphicFrame>
      <p:sp>
        <p:nvSpPr>
          <p:cNvPr id="4" name="object 6"/>
          <p:cNvSpPr txBox="1">
            <a:spLocks/>
          </p:cNvSpPr>
          <p:nvPr/>
        </p:nvSpPr>
        <p:spPr bwMode="auto">
          <a:xfrm>
            <a:off x="354584" y="259207"/>
            <a:ext cx="8055609" cy="3911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12700" rIns="0" bIns="0" numCol="1" rtlCol="0" anchor="ctr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8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2"/>
                </a:solidFill>
                <a:latin typeface="Century Gothic" panose="020B0502020202020204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2"/>
                </a:solidFill>
                <a:latin typeface="Century Gothic" panose="020B0502020202020204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2"/>
                </a:solidFill>
                <a:latin typeface="Century Gothic" panose="020B0502020202020204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2"/>
                </a:solidFill>
                <a:latin typeface="Century Gothic" panose="020B0502020202020204" pitchFamily="34" charset="0"/>
              </a:defRPr>
            </a:lvl5pPr>
            <a:lvl6pPr marL="342900" algn="l" rtl="0" fontAlgn="base"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2"/>
                </a:solidFill>
                <a:latin typeface="Century Gothic" panose="020B0502020202020204" pitchFamily="34" charset="0"/>
              </a:defRPr>
            </a:lvl6pPr>
            <a:lvl7pPr marL="685800" algn="l" rtl="0" fontAlgn="base"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2"/>
                </a:solidFill>
                <a:latin typeface="Century Gothic" panose="020B0502020202020204" pitchFamily="34" charset="0"/>
              </a:defRPr>
            </a:lvl7pPr>
            <a:lvl8pPr marL="1028700" algn="l" rtl="0" fontAlgn="base"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2"/>
                </a:solidFill>
                <a:latin typeface="Century Gothic" panose="020B0502020202020204" pitchFamily="34" charset="0"/>
              </a:defRPr>
            </a:lvl8pPr>
            <a:lvl9pPr marL="1371600" algn="l" rtl="0" fontAlgn="base"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2"/>
                </a:solidFill>
                <a:latin typeface="Century Gothic" panose="020B0502020202020204" pitchFamily="34" charset="0"/>
              </a:defRPr>
            </a:lvl9pPr>
          </a:lstStyle>
          <a:p>
            <a:pPr marL="12700">
              <a:spcBef>
                <a:spcPts val="100"/>
              </a:spcBef>
            </a:pPr>
            <a:r>
              <a:rPr lang="en-US" sz="2400" dirty="0">
                <a:solidFill>
                  <a:srgbClr val="003399"/>
                </a:solidFill>
              </a:rPr>
              <a:t>WHAT WORKED?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xmlns="" val="39364553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0148" name="Rectangle 3"/>
          <p:cNvSpPr>
            <a:spLocks noChangeArrowheads="1"/>
          </p:cNvSpPr>
          <p:nvPr/>
        </p:nvSpPr>
        <p:spPr bwMode="auto">
          <a:xfrm>
            <a:off x="1895477" y="4243390"/>
            <a:ext cx="5442347" cy="5078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defTabSz="685800">
              <a:defRPr/>
            </a:pPr>
            <a:r>
              <a:rPr lang="en-US" altLang="en-US" sz="1350" b="1" kern="0">
                <a:solidFill>
                  <a:schemeClr val="bg1"/>
                </a:solidFill>
              </a:rPr>
              <a:t>QUALITY EDUCATION FOR EVERY CHILD IN EVERY CLASS OF EVERY SCHOOL IN THE PROVINCE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-76200" y="0"/>
            <a:ext cx="9220200" cy="6857999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251800" y="6157912"/>
            <a:ext cx="3892199" cy="700088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-76200" y="6165056"/>
            <a:ext cx="4126706" cy="68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00252659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ontent Placeholder 1">
            <a:extLst>
              <a:ext uri="{FF2B5EF4-FFF2-40B4-BE49-F238E27FC236}">
                <a16:creationId xmlns:a16="http://schemas.microsoft.com/office/drawing/2014/main" xmlns="" id="{DBCA41D9-11D2-4B7D-A834-E6149F94208C}"/>
              </a:ext>
            </a:extLst>
          </p:cNvPr>
          <p:cNvGraphicFramePr>
            <a:graphicFrameLocks noGrp="1"/>
          </p:cNvGraphicFramePr>
          <p:nvPr>
            <p:ph idx="4294967295"/>
            <p:extLst/>
          </p:nvPr>
        </p:nvGraphicFramePr>
        <p:xfrm>
          <a:off x="1" y="857250"/>
          <a:ext cx="9144000" cy="748671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05886">
                  <a:extLst>
                    <a:ext uri="{9D8B030D-6E8A-4147-A177-3AD203B41FA5}">
                      <a16:colId xmlns:a16="http://schemas.microsoft.com/office/drawing/2014/main" xmlns="" val="2134944845"/>
                    </a:ext>
                  </a:extLst>
                </a:gridCol>
                <a:gridCol w="3596463">
                  <a:extLst>
                    <a:ext uri="{9D8B030D-6E8A-4147-A177-3AD203B41FA5}">
                      <a16:colId xmlns:a16="http://schemas.microsoft.com/office/drawing/2014/main" xmlns="" val="2259675959"/>
                    </a:ext>
                  </a:extLst>
                </a:gridCol>
                <a:gridCol w="3641651">
                  <a:extLst>
                    <a:ext uri="{9D8B030D-6E8A-4147-A177-3AD203B41FA5}">
                      <a16:colId xmlns:a16="http://schemas.microsoft.com/office/drawing/2014/main" xmlns="" val="2012045468"/>
                    </a:ext>
                  </a:extLst>
                </a:gridCol>
              </a:tblGrid>
              <a:tr h="403830">
                <a:tc>
                  <a:txBody>
                    <a:bodyPr/>
                    <a:lstStyle/>
                    <a:p>
                      <a:r>
                        <a:rPr lang="en-ZA" sz="1800" dirty="0"/>
                        <a:t>WHAT</a:t>
                      </a:r>
                      <a:r>
                        <a:rPr lang="en-ZA" sz="1800" baseline="0" dirty="0"/>
                        <a:t> WORKED</a:t>
                      </a:r>
                      <a:endParaRPr lang="en-ZA" sz="1800" dirty="0"/>
                    </a:p>
                  </a:txBody>
                  <a:tcPr marL="68569" marR="68569" marT="34298" marB="34298"/>
                </a:tc>
                <a:tc>
                  <a:txBody>
                    <a:bodyPr/>
                    <a:lstStyle/>
                    <a:p>
                      <a:r>
                        <a:rPr lang="en-ZA" sz="1800" dirty="0"/>
                        <a:t>REASON</a:t>
                      </a:r>
                      <a:r>
                        <a:rPr lang="en-ZA" sz="1800" baseline="0" dirty="0"/>
                        <a:t> FOR SUCCESS</a:t>
                      </a:r>
                      <a:endParaRPr lang="en-ZA" sz="1800" dirty="0"/>
                    </a:p>
                  </a:txBody>
                  <a:tcPr marL="68569" marR="68569" marT="34298" marB="34298"/>
                </a:tc>
                <a:tc>
                  <a:txBody>
                    <a:bodyPr/>
                    <a:lstStyle/>
                    <a:p>
                      <a:r>
                        <a:rPr lang="en-ZA" sz="1800" dirty="0"/>
                        <a:t>FUTURE STRATEGY FOR 2019</a:t>
                      </a:r>
                    </a:p>
                  </a:txBody>
                  <a:tcPr marL="68569" marR="68569" marT="34298" marB="34298"/>
                </a:tc>
                <a:extLst>
                  <a:ext uri="{0D108BD9-81ED-4DB2-BD59-A6C34878D82A}">
                    <a16:rowId xmlns:a16="http://schemas.microsoft.com/office/drawing/2014/main" xmlns="" val="1681142410"/>
                  </a:ext>
                </a:extLst>
              </a:tr>
              <a:tr h="1211597">
                <a:tc>
                  <a:txBody>
                    <a:bodyPr/>
                    <a:lstStyle/>
                    <a:p>
                      <a:r>
                        <a:rPr lang="en-ZA" sz="1500" b="1" dirty="0"/>
                        <a:t>Enabled Classrooms for digitally</a:t>
                      </a:r>
                      <a:r>
                        <a:rPr lang="en-ZA" sz="1500" b="1" baseline="0" dirty="0"/>
                        <a:t>-supported</a:t>
                      </a:r>
                      <a:r>
                        <a:rPr lang="en-ZA" sz="1500" b="1" dirty="0"/>
                        <a:t> teaching and learning</a:t>
                      </a:r>
                    </a:p>
                  </a:txBody>
                  <a:tcPr marL="68569" marR="68569" marT="34298" marB="34298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ZA" sz="1400" b="1" dirty="0"/>
                        <a:t>Listening </a:t>
                      </a:r>
                      <a:r>
                        <a:rPr lang="en-ZA" sz="1400" dirty="0"/>
                        <a:t>to what schools identify as the critical classroom</a:t>
                      </a:r>
                      <a:r>
                        <a:rPr lang="en-ZA" sz="1400" baseline="0" dirty="0"/>
                        <a:t> enabling needs. Cognizant of the environmental challenges.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ZA" sz="1400" b="1" baseline="0" dirty="0"/>
                        <a:t>Effective R&amp;D and SCM </a:t>
                      </a:r>
                      <a:r>
                        <a:rPr lang="en-ZA" sz="1400" baseline="0" dirty="0"/>
                        <a:t>processes</a:t>
                      </a:r>
                      <a:endParaRPr lang="en-ZA" sz="1400" dirty="0"/>
                    </a:p>
                  </a:txBody>
                  <a:tcPr marL="68569" marR="68569" marT="34298" marB="34298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ZA" sz="1400" dirty="0"/>
                        <a:t>Redefine the scope and extent of classroom technologies for teachers and learners towards greater mobility between</a:t>
                      </a:r>
                      <a:r>
                        <a:rPr lang="en-ZA" sz="1400" baseline="0" dirty="0"/>
                        <a:t> classrooms.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ZA" sz="1400" baseline="0" dirty="0"/>
                        <a:t>Learner-focused strategy.</a:t>
                      </a:r>
                      <a:endParaRPr lang="en-ZA" sz="1400" dirty="0"/>
                    </a:p>
                  </a:txBody>
                  <a:tcPr marL="68569" marR="68569" marT="34298" marB="34298"/>
                </a:tc>
                <a:extLst>
                  <a:ext uri="{0D108BD9-81ED-4DB2-BD59-A6C34878D82A}">
                    <a16:rowId xmlns:a16="http://schemas.microsoft.com/office/drawing/2014/main" xmlns="" val="3049955826"/>
                  </a:ext>
                </a:extLst>
              </a:tr>
              <a:tr h="1588787">
                <a:tc>
                  <a:txBody>
                    <a:bodyPr/>
                    <a:lstStyle/>
                    <a:p>
                      <a:r>
                        <a:rPr lang="en-ZA" sz="1500" b="1" dirty="0"/>
                        <a:t>Change</a:t>
                      </a:r>
                      <a:r>
                        <a:rPr lang="en-ZA" sz="1500" b="1" baseline="0" dirty="0"/>
                        <a:t> management and ICT-in curriculum embrace</a:t>
                      </a:r>
                      <a:endParaRPr lang="en-ZA" sz="1500" b="1" dirty="0"/>
                    </a:p>
                  </a:txBody>
                  <a:tcPr marL="68569" marR="68569" marT="34298" marB="34298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ZA" sz="1400" b="1" dirty="0"/>
                        <a:t>Schools commit </a:t>
                      </a:r>
                      <a:r>
                        <a:rPr lang="en-ZA" sz="1400" dirty="0"/>
                        <a:t>to MOUs and MOAs as part of the eLearning thrust at school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ZA" sz="1400" b="1" dirty="0"/>
                        <a:t>Champion Networks</a:t>
                      </a:r>
                      <a:r>
                        <a:rPr lang="en-ZA" sz="1400" dirty="0"/>
                        <a:t> established</a:t>
                      </a:r>
                    </a:p>
                  </a:txBody>
                  <a:tcPr marL="68569" marR="68569" marT="34298" marB="34298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ZA" sz="1400" dirty="0"/>
                        <a:t>Bring</a:t>
                      </a:r>
                      <a:r>
                        <a:rPr lang="en-ZA" sz="1400" baseline="0" dirty="0"/>
                        <a:t> greater value, purpose and engagement to the Change- Champions networks (PLCs)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ZA" sz="1400" baseline="0" dirty="0"/>
                        <a:t>Provide Cyber-Safety focus for teachers/learner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ZA" sz="1400" baseline="0" dirty="0"/>
                        <a:t>Transform to Perform initiative supported</a:t>
                      </a:r>
                      <a:endParaRPr lang="en-ZA" sz="1400" dirty="0"/>
                    </a:p>
                  </a:txBody>
                  <a:tcPr marL="68569" marR="68569" marT="34298" marB="34298"/>
                </a:tc>
                <a:extLst>
                  <a:ext uri="{0D108BD9-81ED-4DB2-BD59-A6C34878D82A}">
                    <a16:rowId xmlns:a16="http://schemas.microsoft.com/office/drawing/2014/main" xmlns="" val="3253669184"/>
                  </a:ext>
                </a:extLst>
              </a:tr>
              <a:tr h="1371617">
                <a:tc>
                  <a:txBody>
                    <a:bodyPr/>
                    <a:lstStyle/>
                    <a:p>
                      <a:r>
                        <a:rPr lang="en-ZA" sz="1500" b="1" dirty="0"/>
                        <a:t>Provision of online and offline digital content</a:t>
                      </a:r>
                    </a:p>
                  </a:txBody>
                  <a:tcPr marL="68569" marR="68569" marT="34298" marB="34298"/>
                </a:tc>
                <a:tc>
                  <a:txBody>
                    <a:bodyPr/>
                    <a:lstStyle/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roviding CAPS-aligned </a:t>
                      </a:r>
                      <a:r>
                        <a:rPr lang="en-US" sz="1400" b="1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Content</a:t>
                      </a:r>
                      <a:r>
                        <a:rPr lang="en-US" sz="14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t no cost to schools through the “IDEA Teach” partnership.</a:t>
                      </a:r>
                    </a:p>
                    <a:p>
                      <a:pPr marL="285750" lvl="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earner </a:t>
                      </a:r>
                      <a:r>
                        <a:rPr lang="en-US" sz="1400" b="1" kern="1200" dirty="0" err="1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obi</a:t>
                      </a:r>
                      <a:r>
                        <a:rPr lang="en-US" sz="14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-site</a:t>
                      </a:r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developed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urriculum delivery dashboard to </a:t>
                      </a:r>
                      <a:r>
                        <a:rPr lang="en-US" sz="14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ush content to learners </a:t>
                      </a:r>
                      <a:r>
                        <a:rPr lang="en-US" sz="1400" b="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eveloped</a:t>
                      </a:r>
                      <a:endParaRPr lang="en-ZA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69" marR="68569" marT="34298" marB="34298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ZA" sz="1400" dirty="0"/>
                        <a:t>Populate digital</a:t>
                      </a:r>
                      <a:r>
                        <a:rPr lang="en-ZA" sz="1400" baseline="0" dirty="0"/>
                        <a:t> repository and link to other relevant repositories e.g. Telematic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ZA" sz="1400" baseline="0" dirty="0"/>
                        <a:t>Build the other aspects of the </a:t>
                      </a:r>
                      <a:r>
                        <a:rPr lang="en-ZA" sz="1400" baseline="0" dirty="0" err="1"/>
                        <a:t>eportal</a:t>
                      </a:r>
                      <a:r>
                        <a:rPr lang="en-ZA" sz="1400" baseline="0" dirty="0"/>
                        <a:t> e.g. The Classroom and Curriculum support sections</a:t>
                      </a:r>
                      <a:endParaRPr lang="en-ZA" sz="1400" dirty="0"/>
                    </a:p>
                  </a:txBody>
                  <a:tcPr marL="68569" marR="68569" marT="34298" marB="34298"/>
                </a:tc>
                <a:extLst>
                  <a:ext uri="{0D108BD9-81ED-4DB2-BD59-A6C34878D82A}">
                    <a16:rowId xmlns:a16="http://schemas.microsoft.com/office/drawing/2014/main" xmlns="" val="544644774"/>
                  </a:ext>
                </a:extLst>
              </a:tr>
              <a:tr h="893119">
                <a:tc>
                  <a:txBody>
                    <a:bodyPr/>
                    <a:lstStyle/>
                    <a:p>
                      <a:r>
                        <a:rPr lang="en-ZA" sz="1500" b="1" dirty="0"/>
                        <a:t>Supporting structures to schools</a:t>
                      </a:r>
                    </a:p>
                  </a:txBody>
                  <a:tcPr marL="68581" marR="68581" marT="34300" marB="34300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ZA" sz="1400" b="1" dirty="0"/>
                        <a:t>District Advisory teams </a:t>
                      </a:r>
                      <a:r>
                        <a:rPr lang="en-ZA" sz="1400" dirty="0"/>
                        <a:t>having own-agency to</a:t>
                      </a:r>
                      <a:r>
                        <a:rPr lang="en-ZA" sz="1400" baseline="0" dirty="0"/>
                        <a:t> support school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ZA" sz="1400" b="1" baseline="0" dirty="0"/>
                        <a:t>Pro-active</a:t>
                      </a:r>
                      <a:r>
                        <a:rPr lang="en-ZA" sz="1400" baseline="0" dirty="0"/>
                        <a:t> vs reactive methodology in support of technical challenges</a:t>
                      </a:r>
                      <a:endParaRPr lang="en-ZA" sz="1400" dirty="0"/>
                    </a:p>
                  </a:txBody>
                  <a:tcPr marL="68581" marR="68581" marT="34300" marB="34300"/>
                </a:tc>
                <a:tc>
                  <a:txBody>
                    <a:bodyPr/>
                    <a:lstStyle/>
                    <a:p>
                      <a:r>
                        <a:rPr lang="en-ZA" sz="1400" dirty="0"/>
                        <a:t>Refine the ease of self-help access for teachers/ schools</a:t>
                      </a:r>
                    </a:p>
                    <a:p>
                      <a:r>
                        <a:rPr lang="en-ZA" sz="1400" dirty="0"/>
                        <a:t>Ensure</a:t>
                      </a:r>
                      <a:r>
                        <a:rPr lang="en-ZA" sz="1400" baseline="0" dirty="0"/>
                        <a:t> the </a:t>
                      </a:r>
                      <a:r>
                        <a:rPr lang="en-ZA" sz="1400" baseline="0" dirty="0" err="1"/>
                        <a:t>QoS</a:t>
                      </a:r>
                      <a:r>
                        <a:rPr lang="en-ZA" sz="1400" baseline="0" dirty="0"/>
                        <a:t> and better communication between stakeholders</a:t>
                      </a:r>
                      <a:endParaRPr lang="en-ZA" sz="1400" dirty="0"/>
                    </a:p>
                  </a:txBody>
                  <a:tcPr marL="68581" marR="68581" marT="34300" marB="34300"/>
                </a:tc>
                <a:extLst>
                  <a:ext uri="{0D108BD9-81ED-4DB2-BD59-A6C34878D82A}">
                    <a16:rowId xmlns:a16="http://schemas.microsoft.com/office/drawing/2014/main" xmlns="" val="2812864514"/>
                  </a:ext>
                </a:extLst>
              </a:tr>
              <a:tr h="1714520">
                <a:tc>
                  <a:txBody>
                    <a:bodyPr/>
                    <a:lstStyle/>
                    <a:p>
                      <a:r>
                        <a:rPr lang="en-ZA" sz="1500" b="1" dirty="0" err="1"/>
                        <a:t>eTeacher</a:t>
                      </a:r>
                      <a:r>
                        <a:rPr lang="en-ZA" sz="1500" b="1" dirty="0"/>
                        <a:t> Professional Development</a:t>
                      </a:r>
                    </a:p>
                  </a:txBody>
                  <a:tcPr marL="68581" marR="68581" marT="34300" marB="34300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ZA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CT Skills and integration training </a:t>
                      </a:r>
                      <a:r>
                        <a:rPr lang="en-ZA" sz="14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aches 70%</a:t>
                      </a:r>
                      <a:r>
                        <a:rPr lang="en-ZA" sz="1400" b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of teachers </a:t>
                      </a:r>
                      <a:r>
                        <a:rPr lang="en-ZA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 total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ZA" sz="1400" b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CT proficiency tool </a:t>
                      </a:r>
                      <a:r>
                        <a:rPr lang="en-ZA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hat provides a systemic gauge for WCED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ZA" sz="1400" b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rainer network </a:t>
                      </a:r>
                      <a:r>
                        <a:rPr lang="en-ZA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stablished within districts and a specialised unit at CTLI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ZA" sz="1400" b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argeted approach </a:t>
                      </a:r>
                      <a:r>
                        <a:rPr lang="en-ZA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vs a machine gun hit and miss approach.</a:t>
                      </a:r>
                      <a:endParaRPr lang="en-ZA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1" marR="68581" marT="34300" marB="34300"/>
                </a:tc>
                <a:tc>
                  <a:txBody>
                    <a:bodyPr/>
                    <a:lstStyle/>
                    <a:p>
                      <a:r>
                        <a:rPr lang="en-ZA" sz="1400" dirty="0"/>
                        <a:t>Accelerated TPD program that incorporates the new Digital Skills framework </a:t>
                      </a:r>
                    </a:p>
                    <a:p>
                      <a:r>
                        <a:rPr lang="en-ZA" sz="1400" dirty="0"/>
                        <a:t>Blended and Online offering of TPD courses</a:t>
                      </a:r>
                    </a:p>
                    <a:p>
                      <a:r>
                        <a:rPr lang="en-ZA" sz="1400" dirty="0"/>
                        <a:t>Integrated TPD dynamic database</a:t>
                      </a:r>
                    </a:p>
                  </a:txBody>
                  <a:tcPr marL="68581" marR="68581" marT="34300" marB="34300"/>
                </a:tc>
                <a:extLst>
                  <a:ext uri="{0D108BD9-81ED-4DB2-BD59-A6C34878D82A}">
                    <a16:rowId xmlns:a16="http://schemas.microsoft.com/office/drawing/2014/main" xmlns="" val="2834615490"/>
                  </a:ext>
                </a:extLst>
              </a:tr>
            </a:tbl>
          </a:graphicData>
        </a:graphic>
      </p:graphicFrame>
      <p:sp>
        <p:nvSpPr>
          <p:cNvPr id="3" name="object 6"/>
          <p:cNvSpPr txBox="1">
            <a:spLocks/>
          </p:cNvSpPr>
          <p:nvPr/>
        </p:nvSpPr>
        <p:spPr bwMode="auto">
          <a:xfrm>
            <a:off x="354584" y="259207"/>
            <a:ext cx="8055609" cy="3911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12700" rIns="0" bIns="0" numCol="1" rtlCol="0" anchor="ctr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8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2"/>
                </a:solidFill>
                <a:latin typeface="Century Gothic" panose="020B0502020202020204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2"/>
                </a:solidFill>
                <a:latin typeface="Century Gothic" panose="020B0502020202020204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2"/>
                </a:solidFill>
                <a:latin typeface="Century Gothic" panose="020B0502020202020204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2"/>
                </a:solidFill>
                <a:latin typeface="Century Gothic" panose="020B0502020202020204" pitchFamily="34" charset="0"/>
              </a:defRPr>
            </a:lvl5pPr>
            <a:lvl6pPr marL="342900" algn="l" rtl="0" fontAlgn="base"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2"/>
                </a:solidFill>
                <a:latin typeface="Century Gothic" panose="020B0502020202020204" pitchFamily="34" charset="0"/>
              </a:defRPr>
            </a:lvl6pPr>
            <a:lvl7pPr marL="685800" algn="l" rtl="0" fontAlgn="base"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2"/>
                </a:solidFill>
                <a:latin typeface="Century Gothic" panose="020B0502020202020204" pitchFamily="34" charset="0"/>
              </a:defRPr>
            </a:lvl7pPr>
            <a:lvl8pPr marL="1028700" algn="l" rtl="0" fontAlgn="base"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2"/>
                </a:solidFill>
                <a:latin typeface="Century Gothic" panose="020B0502020202020204" pitchFamily="34" charset="0"/>
              </a:defRPr>
            </a:lvl8pPr>
            <a:lvl9pPr marL="1371600" algn="l" rtl="0" fontAlgn="base"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2"/>
                </a:solidFill>
                <a:latin typeface="Century Gothic" panose="020B0502020202020204" pitchFamily="34" charset="0"/>
              </a:defRPr>
            </a:lvl9pPr>
          </a:lstStyle>
          <a:p>
            <a:pPr marL="12700">
              <a:spcBef>
                <a:spcPts val="100"/>
              </a:spcBef>
            </a:pPr>
            <a:r>
              <a:rPr lang="en-US" sz="2400" dirty="0">
                <a:solidFill>
                  <a:srgbClr val="003399"/>
                </a:solidFill>
              </a:rPr>
              <a:t>WHAT WORKED?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xmlns="" val="244651214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ontent Placeholder 1">
            <a:extLst>
              <a:ext uri="{FF2B5EF4-FFF2-40B4-BE49-F238E27FC236}">
                <a16:creationId xmlns:a16="http://schemas.microsoft.com/office/drawing/2014/main" xmlns="" id="{40BEFF97-BBFB-461F-ABAB-43EEF1867842}"/>
              </a:ext>
            </a:extLst>
          </p:cNvPr>
          <p:cNvGraphicFramePr>
            <a:graphicFrameLocks noGrp="1"/>
          </p:cNvGraphicFramePr>
          <p:nvPr>
            <p:ph idx="4294967295"/>
            <p:extLst/>
          </p:nvPr>
        </p:nvGraphicFramePr>
        <p:xfrm>
          <a:off x="0" y="1009651"/>
          <a:ext cx="9144001" cy="66012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15445">
                  <a:extLst>
                    <a:ext uri="{9D8B030D-6E8A-4147-A177-3AD203B41FA5}">
                      <a16:colId xmlns:a16="http://schemas.microsoft.com/office/drawing/2014/main" xmlns="" val="2134944845"/>
                    </a:ext>
                  </a:extLst>
                </a:gridCol>
                <a:gridCol w="3480556">
                  <a:extLst>
                    <a:ext uri="{9D8B030D-6E8A-4147-A177-3AD203B41FA5}">
                      <a16:colId xmlns:a16="http://schemas.microsoft.com/office/drawing/2014/main" xmlns="" val="2259675959"/>
                    </a:ext>
                  </a:extLst>
                </a:gridCol>
                <a:gridCol w="3048000">
                  <a:extLst>
                    <a:ext uri="{9D8B030D-6E8A-4147-A177-3AD203B41FA5}">
                      <a16:colId xmlns:a16="http://schemas.microsoft.com/office/drawing/2014/main" xmlns="" val="2012045468"/>
                    </a:ext>
                  </a:extLst>
                </a:gridCol>
              </a:tblGrid>
              <a:tr h="617240"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en-ZA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WHAT WORKED</a:t>
                      </a:r>
                    </a:p>
                  </a:txBody>
                  <a:tcPr marL="68581" marR="68581" marT="34300" marB="34300"/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en-ZA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REASON FOR SUCCESS</a:t>
                      </a:r>
                    </a:p>
                  </a:txBody>
                  <a:tcPr marL="68581" marR="68581" marT="34300" marB="34300"/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en-ZA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FUTURE STRATEGY FOR 2019</a:t>
                      </a:r>
                    </a:p>
                  </a:txBody>
                  <a:tcPr marL="68581" marR="68581" marT="34300" marB="34300"/>
                </a:tc>
                <a:extLst>
                  <a:ext uri="{0D108BD9-81ED-4DB2-BD59-A6C34878D82A}">
                    <a16:rowId xmlns:a16="http://schemas.microsoft.com/office/drawing/2014/main" xmlns="" val="1681142410"/>
                  </a:ext>
                </a:extLst>
              </a:tr>
              <a:tr h="1206339">
                <a:tc>
                  <a:txBody>
                    <a:bodyPr/>
                    <a:lstStyle/>
                    <a:p>
                      <a:r>
                        <a:rPr lang="en-ZA" sz="1500" b="1" dirty="0"/>
                        <a:t>Supporting structures to schools</a:t>
                      </a:r>
                    </a:p>
                  </a:txBody>
                  <a:tcPr marL="68581" marR="68581" marT="34300" marB="34300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ZA" sz="1400" b="1" dirty="0"/>
                        <a:t>District Advisory teams </a:t>
                      </a:r>
                      <a:r>
                        <a:rPr lang="en-ZA" sz="1400" dirty="0"/>
                        <a:t>having own-agency to</a:t>
                      </a:r>
                      <a:r>
                        <a:rPr lang="en-ZA" sz="1400" baseline="0" dirty="0"/>
                        <a:t> support school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ZA" sz="1400" b="1" baseline="0" dirty="0"/>
                        <a:t>Pro-active</a:t>
                      </a:r>
                      <a:r>
                        <a:rPr lang="en-ZA" sz="1400" baseline="0" dirty="0"/>
                        <a:t> vs reactive methodology in support of technical challenges</a:t>
                      </a:r>
                      <a:endParaRPr lang="en-ZA" sz="1400" dirty="0"/>
                    </a:p>
                  </a:txBody>
                  <a:tcPr marL="68581" marR="68581" marT="34300" marB="34300"/>
                </a:tc>
                <a:tc>
                  <a:txBody>
                    <a:bodyPr/>
                    <a:lstStyle/>
                    <a:p>
                      <a:r>
                        <a:rPr lang="en-ZA" sz="1400" dirty="0"/>
                        <a:t>Refine the ease of self-help access for teachers/ schools</a:t>
                      </a:r>
                    </a:p>
                    <a:p>
                      <a:r>
                        <a:rPr lang="en-ZA" sz="1400" dirty="0"/>
                        <a:t>Ensure</a:t>
                      </a:r>
                      <a:r>
                        <a:rPr lang="en-ZA" sz="1400" baseline="0" dirty="0"/>
                        <a:t> the </a:t>
                      </a:r>
                      <a:r>
                        <a:rPr lang="en-ZA" sz="1400" baseline="0" dirty="0" err="1"/>
                        <a:t>QoS</a:t>
                      </a:r>
                      <a:r>
                        <a:rPr lang="en-ZA" sz="1400" baseline="0" dirty="0"/>
                        <a:t> and better communication between stakeholders</a:t>
                      </a:r>
                      <a:endParaRPr lang="en-ZA" sz="1400" dirty="0"/>
                    </a:p>
                  </a:txBody>
                  <a:tcPr marL="68581" marR="68581" marT="34300" marB="34300"/>
                </a:tc>
                <a:extLst>
                  <a:ext uri="{0D108BD9-81ED-4DB2-BD59-A6C34878D82A}">
                    <a16:rowId xmlns:a16="http://schemas.microsoft.com/office/drawing/2014/main" xmlns="" val="3049955826"/>
                  </a:ext>
                </a:extLst>
              </a:tr>
              <a:tr h="2023130">
                <a:tc>
                  <a:txBody>
                    <a:bodyPr/>
                    <a:lstStyle/>
                    <a:p>
                      <a:r>
                        <a:rPr lang="en-ZA" sz="1500" b="1" dirty="0" err="1"/>
                        <a:t>eTeacher</a:t>
                      </a:r>
                      <a:r>
                        <a:rPr lang="en-ZA" sz="1500" b="1" dirty="0"/>
                        <a:t> Professional Development</a:t>
                      </a:r>
                    </a:p>
                  </a:txBody>
                  <a:tcPr marL="68581" marR="68581" marT="34300" marB="34300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ZA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CT Skills and integration training </a:t>
                      </a:r>
                      <a:r>
                        <a:rPr lang="en-ZA" sz="1400" b="1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aches 70%</a:t>
                      </a:r>
                      <a:r>
                        <a:rPr lang="en-ZA" sz="1400" b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of teachers </a:t>
                      </a:r>
                      <a:r>
                        <a:rPr lang="en-ZA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 total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ZA" sz="1400" b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CT proficiency tool </a:t>
                      </a:r>
                      <a:r>
                        <a:rPr lang="en-ZA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hat provides a systemic gauge for WCED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ZA" sz="1400" b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rainer network </a:t>
                      </a:r>
                      <a:r>
                        <a:rPr lang="en-ZA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stablished within districts and a specialised unit at CTLI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ZA" sz="1400" b="1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argeted approach </a:t>
                      </a:r>
                      <a:r>
                        <a:rPr lang="en-ZA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vs a machine gun hit and miss approach.</a:t>
                      </a:r>
                      <a:endParaRPr lang="en-ZA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1" marR="68581" marT="34300" marB="34300"/>
                </a:tc>
                <a:tc>
                  <a:txBody>
                    <a:bodyPr/>
                    <a:lstStyle/>
                    <a:p>
                      <a:r>
                        <a:rPr lang="en-ZA" sz="1400" dirty="0"/>
                        <a:t>Accelerated TPD program that incorporates the new Digital Skills framework </a:t>
                      </a:r>
                    </a:p>
                    <a:p>
                      <a:r>
                        <a:rPr lang="en-ZA" sz="1400" dirty="0"/>
                        <a:t>Blended and Online offering of TPD courses</a:t>
                      </a:r>
                    </a:p>
                    <a:p>
                      <a:r>
                        <a:rPr lang="en-ZA" sz="1400" dirty="0"/>
                        <a:t>Integrated TPD dynamic database</a:t>
                      </a:r>
                    </a:p>
                  </a:txBody>
                  <a:tcPr marL="68581" marR="68581" marT="34300" marB="34300"/>
                </a:tc>
                <a:extLst>
                  <a:ext uri="{0D108BD9-81ED-4DB2-BD59-A6C34878D82A}">
                    <a16:rowId xmlns:a16="http://schemas.microsoft.com/office/drawing/2014/main" xmlns="" val="3253669184"/>
                  </a:ext>
                </a:extLst>
              </a:tr>
              <a:tr h="2754494">
                <a:tc>
                  <a:txBody>
                    <a:bodyPr/>
                    <a:lstStyle/>
                    <a:p>
                      <a:endParaRPr lang="en-ZA" sz="1800" b="1" dirty="0"/>
                    </a:p>
                  </a:txBody>
                  <a:tcPr marL="68581" marR="68581" marT="34300" marB="34300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ZA" sz="15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1" marR="68581" marT="34300" marB="34300"/>
                </a:tc>
                <a:tc>
                  <a:txBody>
                    <a:bodyPr/>
                    <a:lstStyle/>
                    <a:p>
                      <a:endParaRPr lang="en-ZA" sz="1500" dirty="0"/>
                    </a:p>
                  </a:txBody>
                  <a:tcPr marL="68581" marR="68581" marT="34300" marB="34300"/>
                </a:tc>
                <a:extLst>
                  <a:ext uri="{0D108BD9-81ED-4DB2-BD59-A6C34878D82A}">
                    <a16:rowId xmlns:a16="http://schemas.microsoft.com/office/drawing/2014/main" xmlns="" val="1935399319"/>
                  </a:ext>
                </a:extLst>
              </a:tr>
            </a:tbl>
          </a:graphicData>
        </a:graphic>
      </p:graphicFrame>
      <p:sp>
        <p:nvSpPr>
          <p:cNvPr id="3" name="object 6"/>
          <p:cNvSpPr txBox="1">
            <a:spLocks/>
          </p:cNvSpPr>
          <p:nvPr/>
        </p:nvSpPr>
        <p:spPr bwMode="auto">
          <a:xfrm>
            <a:off x="354584" y="259207"/>
            <a:ext cx="8055609" cy="3911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12700" rIns="0" bIns="0" numCol="1" rtlCol="0" anchor="ctr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8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2"/>
                </a:solidFill>
                <a:latin typeface="Century Gothic" panose="020B0502020202020204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2"/>
                </a:solidFill>
                <a:latin typeface="Century Gothic" panose="020B0502020202020204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2"/>
                </a:solidFill>
                <a:latin typeface="Century Gothic" panose="020B0502020202020204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2"/>
                </a:solidFill>
                <a:latin typeface="Century Gothic" panose="020B0502020202020204" pitchFamily="34" charset="0"/>
              </a:defRPr>
            </a:lvl5pPr>
            <a:lvl6pPr marL="342900" algn="l" rtl="0" fontAlgn="base"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2"/>
                </a:solidFill>
                <a:latin typeface="Century Gothic" panose="020B0502020202020204" pitchFamily="34" charset="0"/>
              </a:defRPr>
            </a:lvl6pPr>
            <a:lvl7pPr marL="685800" algn="l" rtl="0" fontAlgn="base"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2"/>
                </a:solidFill>
                <a:latin typeface="Century Gothic" panose="020B0502020202020204" pitchFamily="34" charset="0"/>
              </a:defRPr>
            </a:lvl7pPr>
            <a:lvl8pPr marL="1028700" algn="l" rtl="0" fontAlgn="base"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2"/>
                </a:solidFill>
                <a:latin typeface="Century Gothic" panose="020B0502020202020204" pitchFamily="34" charset="0"/>
              </a:defRPr>
            </a:lvl8pPr>
            <a:lvl9pPr marL="1371600" algn="l" rtl="0" fontAlgn="base"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2"/>
                </a:solidFill>
                <a:latin typeface="Century Gothic" panose="020B0502020202020204" pitchFamily="34" charset="0"/>
              </a:defRPr>
            </a:lvl9pPr>
          </a:lstStyle>
          <a:p>
            <a:pPr marL="12700">
              <a:spcBef>
                <a:spcPts val="100"/>
              </a:spcBef>
            </a:pPr>
            <a:r>
              <a:rPr lang="en-US" sz="2400" dirty="0">
                <a:solidFill>
                  <a:srgbClr val="003399"/>
                </a:solidFill>
              </a:rPr>
              <a:t>WHAT WORKED?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xmlns="" val="308542734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Content Placeholder 1">
            <a:extLst>
              <a:ext uri="{FF2B5EF4-FFF2-40B4-BE49-F238E27FC236}">
                <a16:creationId xmlns:a16="http://schemas.microsoft.com/office/drawing/2014/main" xmlns="" id="{B4557612-FB2C-4FBD-B55D-43EBC292D197}"/>
              </a:ext>
            </a:extLst>
          </p:cNvPr>
          <p:cNvGraphicFramePr>
            <a:graphicFrameLocks noGrp="1"/>
          </p:cNvGraphicFramePr>
          <p:nvPr>
            <p:ph idx="4294967295"/>
            <p:extLst/>
          </p:nvPr>
        </p:nvGraphicFramePr>
        <p:xfrm>
          <a:off x="1" y="857250"/>
          <a:ext cx="9143999" cy="65379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89937">
                  <a:extLst>
                    <a:ext uri="{9D8B030D-6E8A-4147-A177-3AD203B41FA5}">
                      <a16:colId xmlns:a16="http://schemas.microsoft.com/office/drawing/2014/main" xmlns="" val="2134944845"/>
                    </a:ext>
                  </a:extLst>
                </a:gridCol>
                <a:gridCol w="3803798">
                  <a:extLst>
                    <a:ext uri="{9D8B030D-6E8A-4147-A177-3AD203B41FA5}">
                      <a16:colId xmlns:a16="http://schemas.microsoft.com/office/drawing/2014/main" xmlns="" val="2259675959"/>
                    </a:ext>
                  </a:extLst>
                </a:gridCol>
                <a:gridCol w="3450264">
                  <a:extLst>
                    <a:ext uri="{9D8B030D-6E8A-4147-A177-3AD203B41FA5}">
                      <a16:colId xmlns:a16="http://schemas.microsoft.com/office/drawing/2014/main" xmlns="" val="2012045468"/>
                    </a:ext>
                  </a:extLst>
                </a:gridCol>
              </a:tblGrid>
              <a:tr h="617226">
                <a:tc>
                  <a:txBody>
                    <a:bodyPr/>
                    <a:lstStyle/>
                    <a:p>
                      <a:pPr algn="ctr"/>
                      <a:r>
                        <a:rPr lang="en-ZA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WHAT DID </a:t>
                      </a:r>
                      <a:r>
                        <a:rPr lang="en-ZA" sz="1800" b="1" i="1" u="sng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NOT</a:t>
                      </a:r>
                      <a:r>
                        <a:rPr lang="en-ZA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 WORK</a:t>
                      </a:r>
                    </a:p>
                  </a:txBody>
                  <a:tcPr marL="68579" marR="68579" marT="34293" marB="3429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REASON FOR  LIMITED SUCCESS</a:t>
                      </a:r>
                    </a:p>
                  </a:txBody>
                  <a:tcPr marL="68579" marR="68579" marT="34293" marB="34293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8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FUTURE STRATEGY FOR 2019</a:t>
                      </a:r>
                    </a:p>
                  </a:txBody>
                  <a:tcPr marL="68579" marR="68579" marT="34293" marB="34293"/>
                </a:tc>
                <a:extLst>
                  <a:ext uri="{0D108BD9-81ED-4DB2-BD59-A6C34878D82A}">
                    <a16:rowId xmlns:a16="http://schemas.microsoft.com/office/drawing/2014/main" xmlns="" val="1681142410"/>
                  </a:ext>
                </a:extLst>
              </a:tr>
              <a:tr h="1897386">
                <a:tc>
                  <a:txBody>
                    <a:bodyPr/>
                    <a:lstStyle/>
                    <a:p>
                      <a:r>
                        <a:rPr lang="en-ZA" sz="1500" b="1" dirty="0"/>
                        <a:t>Infrastructure and Network issues</a:t>
                      </a:r>
                    </a:p>
                  </a:txBody>
                  <a:tcPr marL="68579" marR="68579" marT="34293" marB="34293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ZA" sz="1500" b="1" dirty="0"/>
                        <a:t>Broadband Quality</a:t>
                      </a:r>
                      <a:r>
                        <a:rPr lang="en-ZA" sz="1500" b="1" baseline="0" dirty="0"/>
                        <a:t> and Stability </a:t>
                      </a:r>
                      <a:r>
                        <a:rPr lang="en-ZA" sz="1500" b="0" baseline="0" dirty="0"/>
                        <a:t>of Services in question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ZA" sz="1500" b="1" dirty="0"/>
                        <a:t>Coordination</a:t>
                      </a:r>
                      <a:r>
                        <a:rPr lang="en-ZA" sz="1500" b="1" baseline="0" dirty="0"/>
                        <a:t> challenges </a:t>
                      </a:r>
                      <a:r>
                        <a:rPr lang="en-ZA" sz="1500" baseline="0" dirty="0"/>
                        <a:t>between various state entitie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ZA" sz="1500" b="1" baseline="0" dirty="0"/>
                        <a:t>Out-dated</a:t>
                      </a:r>
                      <a:r>
                        <a:rPr lang="en-ZA" sz="1500" baseline="0" dirty="0"/>
                        <a:t> product, processes and practice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ZA" sz="1500" dirty="0"/>
                    </a:p>
                  </a:txBody>
                  <a:tcPr marL="68579" marR="68579" marT="34293" marB="34293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ZA" sz="1500" dirty="0"/>
                        <a:t>Apply Service</a:t>
                      </a:r>
                      <a:r>
                        <a:rPr lang="en-ZA" sz="1500" baseline="0" dirty="0"/>
                        <a:t> Improvement Plan (</a:t>
                      </a:r>
                      <a:r>
                        <a:rPr lang="en-ZA" sz="1500" baseline="0" dirty="0" err="1"/>
                        <a:t>CeI</a:t>
                      </a:r>
                      <a:r>
                        <a:rPr lang="en-ZA" sz="1500" baseline="0" dirty="0"/>
                        <a:t>) to address slow and inconsistent </a:t>
                      </a:r>
                      <a:r>
                        <a:rPr lang="en-ZA" sz="1500" baseline="0" dirty="0" err="1"/>
                        <a:t>Bband</a:t>
                      </a:r>
                      <a:r>
                        <a:rPr lang="en-ZA" sz="1500" baseline="0" dirty="0"/>
                        <a:t>.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ZA" sz="1500" dirty="0"/>
                        <a:t>Establish a </a:t>
                      </a:r>
                      <a:r>
                        <a:rPr lang="en-ZA" sz="1500" baseline="0" dirty="0"/>
                        <a:t>team that addresses </a:t>
                      </a:r>
                      <a:r>
                        <a:rPr lang="en-ZA" sz="1500" dirty="0"/>
                        <a:t>transversal challenges</a:t>
                      </a:r>
                      <a:r>
                        <a:rPr lang="en-ZA" sz="1500" baseline="0" dirty="0"/>
                        <a:t> 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ZA" sz="1500" baseline="0" dirty="0"/>
                        <a:t>Architectural review initiated to identify and suggest necessary changes </a:t>
                      </a:r>
                      <a:endParaRPr lang="en-ZA" sz="1500" dirty="0"/>
                    </a:p>
                  </a:txBody>
                  <a:tcPr marL="68579" marR="68579" marT="34293" marB="34293"/>
                </a:tc>
                <a:extLst>
                  <a:ext uri="{0D108BD9-81ED-4DB2-BD59-A6C34878D82A}">
                    <a16:rowId xmlns:a16="http://schemas.microsoft.com/office/drawing/2014/main" xmlns="" val="825883418"/>
                  </a:ext>
                </a:extLst>
              </a:tr>
              <a:tr h="2811786">
                <a:tc>
                  <a:txBody>
                    <a:bodyPr/>
                    <a:lstStyle/>
                    <a:p>
                      <a:r>
                        <a:rPr lang="en-ZA" sz="1500" b="1" dirty="0"/>
                        <a:t>Classroom</a:t>
                      </a:r>
                      <a:r>
                        <a:rPr lang="en-ZA" sz="1500" b="1" baseline="0" dirty="0"/>
                        <a:t> transformation at all schools and related </a:t>
                      </a:r>
                      <a:r>
                        <a:rPr lang="en-ZA" sz="1500" b="1" baseline="0" dirty="0" err="1"/>
                        <a:t>eLTSM</a:t>
                      </a:r>
                      <a:r>
                        <a:rPr lang="en-ZA" sz="1500" b="1" baseline="0" dirty="0"/>
                        <a:t> resources</a:t>
                      </a:r>
                      <a:endParaRPr lang="en-ZA" sz="1500" b="1" dirty="0"/>
                    </a:p>
                  </a:txBody>
                  <a:tcPr marL="68579" marR="68579" marT="34293" marB="34293"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ZA" sz="1500" dirty="0"/>
                        <a:t>The compounding</a:t>
                      </a:r>
                      <a:r>
                        <a:rPr lang="en-ZA" sz="1500" baseline="0" dirty="0"/>
                        <a:t> </a:t>
                      </a:r>
                      <a:r>
                        <a:rPr lang="en-ZA" sz="1500" b="1" baseline="0" dirty="0"/>
                        <a:t>technical challenges affect: </a:t>
                      </a:r>
                      <a:endParaRPr lang="en-ZA" sz="1500" baseline="0" dirty="0"/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ZA" sz="1500" baseline="0" dirty="0"/>
                        <a:t>the </a:t>
                      </a:r>
                      <a:r>
                        <a:rPr lang="en-ZA" sz="1500" b="1" baseline="0" dirty="0"/>
                        <a:t>pace of integrating skills </a:t>
                      </a:r>
                      <a:r>
                        <a:rPr lang="en-ZA" sz="1500" baseline="0" dirty="0"/>
                        <a:t>to changed classroom practice being a measured one</a:t>
                      </a:r>
                    </a:p>
                    <a:p>
                      <a:pPr marL="285750" marR="0" lvl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ZA" sz="15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adequate attention to sourcing quality off-line digital content which would allow schools to implement eLearning</a:t>
                      </a:r>
                    </a:p>
                    <a:p>
                      <a:pPr marL="285750" marR="0" lvl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ZA" sz="15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doption</a:t>
                      </a:r>
                      <a:r>
                        <a:rPr lang="en-ZA" sz="15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and assimilation of changed teaching practices is slower than envisaged </a:t>
                      </a:r>
                      <a:endParaRPr lang="en-ZA" sz="1500" dirty="0"/>
                    </a:p>
                  </a:txBody>
                  <a:tcPr marL="68579" marR="68579" marT="34293" marB="34293"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ZA" sz="1500" dirty="0"/>
                        <a:t>Simplifying,</a:t>
                      </a:r>
                      <a:r>
                        <a:rPr lang="en-ZA" sz="1500" baseline="0" dirty="0"/>
                        <a:t> then amplifying the TPD courses offered with follow-through from advisory team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ZA" sz="1500" baseline="0" dirty="0"/>
                        <a:t>Enable greater appropriate and available digital resources; </a:t>
                      </a:r>
                      <a:r>
                        <a:rPr lang="en-ZA" sz="1500" baseline="0" dirty="0" err="1"/>
                        <a:t>ePortal</a:t>
                      </a:r>
                      <a:r>
                        <a:rPr lang="en-ZA" sz="1500" baseline="0" dirty="0"/>
                        <a:t>; </a:t>
                      </a: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Buy-in resource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US" sz="1500" kern="12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Re-energized</a:t>
                      </a:r>
                      <a:r>
                        <a:rPr lang="en-US" sz="1500" kern="1200" baseline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Adoption and Change Management campaign</a:t>
                      </a:r>
                      <a:endParaRPr lang="en-ZA" sz="1500" dirty="0"/>
                    </a:p>
                  </a:txBody>
                  <a:tcPr marL="68579" marR="68579" marT="34293" marB="34293"/>
                </a:tc>
                <a:extLst>
                  <a:ext uri="{0D108BD9-81ED-4DB2-BD59-A6C34878D82A}">
                    <a16:rowId xmlns:a16="http://schemas.microsoft.com/office/drawing/2014/main" xmlns="" val="3049955826"/>
                  </a:ext>
                </a:extLst>
              </a:tr>
              <a:tr h="1211586">
                <a:tc>
                  <a:txBody>
                    <a:bodyPr/>
                    <a:lstStyle/>
                    <a:p>
                      <a:r>
                        <a:rPr lang="en-ZA" sz="1500" b="1" dirty="0"/>
                        <a:t>Data-Driven</a:t>
                      </a:r>
                      <a:r>
                        <a:rPr lang="en-ZA" sz="1500" b="1" baseline="0" dirty="0"/>
                        <a:t> management and leadership</a:t>
                      </a:r>
                      <a:endParaRPr lang="en-ZA" sz="1500" b="1" dirty="0"/>
                    </a:p>
                  </a:txBody>
                  <a:tcPr marL="68579" marR="68579" marT="34293" marB="34293"/>
                </a:tc>
                <a:tc>
                  <a:txBody>
                    <a:bodyPr/>
                    <a:lstStyle/>
                    <a:p>
                      <a:pPr marL="342900" indent="-342900">
                        <a:buFont typeface="Arial" panose="020B0604020202020204" pitchFamily="34" charset="0"/>
                        <a:buChar char="•"/>
                      </a:pPr>
                      <a:r>
                        <a:rPr lang="en-ZA" sz="1500" dirty="0"/>
                        <a:t>The </a:t>
                      </a:r>
                      <a:r>
                        <a:rPr lang="en-ZA" sz="1500" b="1" dirty="0"/>
                        <a:t>requisite systems </a:t>
                      </a:r>
                      <a:r>
                        <a:rPr lang="en-ZA" sz="1500" dirty="0"/>
                        <a:t>not being</a:t>
                      </a:r>
                      <a:r>
                        <a:rPr lang="en-ZA" sz="1500" baseline="0" dirty="0"/>
                        <a:t> in place that best provides real-time granular data </a:t>
                      </a:r>
                    </a:p>
                    <a:p>
                      <a:pPr marL="342900" indent="-342900">
                        <a:buFont typeface="Arial" panose="020B0604020202020204" pitchFamily="34" charset="0"/>
                        <a:buChar char="•"/>
                      </a:pPr>
                      <a:r>
                        <a:rPr lang="en-ZA" sz="1500" baseline="0" dirty="0"/>
                        <a:t>The data access to facilitate work of SPs needs address</a:t>
                      </a:r>
                      <a:endParaRPr lang="en-ZA" sz="1500" dirty="0"/>
                    </a:p>
                  </a:txBody>
                  <a:tcPr marL="68579" marR="68579" marT="34293" marB="34293"/>
                </a:tc>
                <a:tc>
                  <a:txBody>
                    <a:bodyPr/>
                    <a:lstStyle/>
                    <a:p>
                      <a:r>
                        <a:rPr lang="en-ZA" sz="1500" dirty="0"/>
                        <a:t>Initiate data integration of projects and programmes</a:t>
                      </a:r>
                    </a:p>
                  </a:txBody>
                  <a:tcPr marL="68579" marR="68579" marT="34293" marB="34293"/>
                </a:tc>
                <a:extLst>
                  <a:ext uri="{0D108BD9-81ED-4DB2-BD59-A6C34878D82A}">
                    <a16:rowId xmlns:a16="http://schemas.microsoft.com/office/drawing/2014/main" xmlns="" val="3253669184"/>
                  </a:ext>
                </a:extLst>
              </a:tr>
            </a:tbl>
          </a:graphicData>
        </a:graphic>
      </p:graphicFrame>
      <p:sp>
        <p:nvSpPr>
          <p:cNvPr id="3" name="object 6"/>
          <p:cNvSpPr txBox="1">
            <a:spLocks/>
          </p:cNvSpPr>
          <p:nvPr/>
        </p:nvSpPr>
        <p:spPr bwMode="auto">
          <a:xfrm>
            <a:off x="354584" y="259207"/>
            <a:ext cx="8055609" cy="3911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12700" rIns="0" bIns="0" numCol="1" rtlCol="0" anchor="ctr" anchorCtr="0" compatLnSpc="1">
            <a:prstTxWarp prst="textNoShape">
              <a:avLst/>
            </a:prstTxWarp>
            <a:spAutoFit/>
          </a:bodyPr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18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2"/>
                </a:solidFill>
                <a:latin typeface="Century Gothic" panose="020B0502020202020204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2"/>
                </a:solidFill>
                <a:latin typeface="Century Gothic" panose="020B0502020202020204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2"/>
                </a:solidFill>
                <a:latin typeface="Century Gothic" panose="020B0502020202020204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2"/>
                </a:solidFill>
                <a:latin typeface="Century Gothic" panose="020B0502020202020204" pitchFamily="34" charset="0"/>
              </a:defRPr>
            </a:lvl5pPr>
            <a:lvl6pPr marL="342900" algn="l" rtl="0" fontAlgn="base"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2"/>
                </a:solidFill>
                <a:latin typeface="Century Gothic" panose="020B0502020202020204" pitchFamily="34" charset="0"/>
              </a:defRPr>
            </a:lvl6pPr>
            <a:lvl7pPr marL="685800" algn="l" rtl="0" fontAlgn="base"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2"/>
                </a:solidFill>
                <a:latin typeface="Century Gothic" panose="020B0502020202020204" pitchFamily="34" charset="0"/>
              </a:defRPr>
            </a:lvl7pPr>
            <a:lvl8pPr marL="1028700" algn="l" rtl="0" fontAlgn="base"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2"/>
                </a:solidFill>
                <a:latin typeface="Century Gothic" panose="020B0502020202020204" pitchFamily="34" charset="0"/>
              </a:defRPr>
            </a:lvl8pPr>
            <a:lvl9pPr marL="1371600" algn="l" rtl="0" fontAlgn="base">
              <a:spcBef>
                <a:spcPct val="0"/>
              </a:spcBef>
              <a:spcAft>
                <a:spcPct val="0"/>
              </a:spcAft>
              <a:defRPr sz="1800" b="1">
                <a:solidFill>
                  <a:schemeClr val="tx2"/>
                </a:solidFill>
                <a:latin typeface="Century Gothic" panose="020B0502020202020204" pitchFamily="34" charset="0"/>
              </a:defRPr>
            </a:lvl9pPr>
          </a:lstStyle>
          <a:p>
            <a:pPr marL="12700">
              <a:spcBef>
                <a:spcPts val="100"/>
              </a:spcBef>
            </a:pPr>
            <a:r>
              <a:rPr lang="en-US" sz="2400" dirty="0">
                <a:solidFill>
                  <a:srgbClr val="003399"/>
                </a:solidFill>
              </a:rPr>
              <a:t>WHAT DID NOT WORK?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xmlns="" val="378438803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9144000" h="6858000">
                <a:moveTo>
                  <a:pt x="0" y="6858000"/>
                </a:moveTo>
                <a:lnTo>
                  <a:pt x="9144000" y="6858000"/>
                </a:lnTo>
                <a:lnTo>
                  <a:pt x="9144000" y="0"/>
                </a:lnTo>
                <a:lnTo>
                  <a:pt x="0" y="0"/>
                </a:lnTo>
                <a:lnTo>
                  <a:pt x="0" y="6858000"/>
                </a:lnTo>
                <a:close/>
              </a:path>
            </a:pathLst>
          </a:custGeom>
          <a:solidFill>
            <a:srgbClr val="00319B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" name="object 3"/>
          <p:cNvSpPr txBox="1"/>
          <p:nvPr/>
        </p:nvSpPr>
        <p:spPr>
          <a:xfrm>
            <a:off x="1842642" y="3885946"/>
            <a:ext cx="2023745" cy="51371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3200" dirty="0">
                <a:solidFill>
                  <a:srgbClr val="FFFFFF"/>
                </a:solidFill>
                <a:latin typeface="Century Gothic"/>
                <a:cs typeface="Century Gothic"/>
              </a:rPr>
              <a:t>Thank</a:t>
            </a:r>
            <a:r>
              <a:rPr sz="3200" spc="-65" dirty="0">
                <a:solidFill>
                  <a:srgbClr val="FFFFFF"/>
                </a:solidFill>
                <a:latin typeface="Century Gothic"/>
                <a:cs typeface="Century Gothic"/>
              </a:rPr>
              <a:t> </a:t>
            </a:r>
            <a:r>
              <a:rPr sz="3200" spc="-5" dirty="0">
                <a:solidFill>
                  <a:srgbClr val="FFFFFF"/>
                </a:solidFill>
                <a:latin typeface="Century Gothic"/>
                <a:cs typeface="Century Gothic"/>
              </a:rPr>
              <a:t>you</a:t>
            </a:r>
            <a:endParaRPr sz="3200">
              <a:latin typeface="Century Gothic"/>
              <a:cs typeface="Century Gothic"/>
            </a:endParaRPr>
          </a:p>
        </p:txBody>
      </p:sp>
      <p:sp>
        <p:nvSpPr>
          <p:cNvPr id="4" name="object 4"/>
          <p:cNvSpPr/>
          <p:nvPr/>
        </p:nvSpPr>
        <p:spPr>
          <a:xfrm>
            <a:off x="0" y="3223260"/>
            <a:ext cx="9144000" cy="246887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9490" name="Picture 2" descr="02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3094" y="0"/>
            <a:ext cx="9207106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2" descr="02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1828800"/>
            <a:ext cx="9207106" cy="51789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="" val="407244408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3874" name="Picture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-200025" y="846138"/>
            <a:ext cx="9501188" cy="6011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63875" name="Picture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95288" y="846138"/>
            <a:ext cx="8748712" cy="79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6180" name="Title 1"/>
          <p:cNvSpPr txBox="1">
            <a:spLocks/>
          </p:cNvSpPr>
          <p:nvPr/>
        </p:nvSpPr>
        <p:spPr bwMode="auto">
          <a:xfrm>
            <a:off x="295275" y="180975"/>
            <a:ext cx="8597900" cy="558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altLang="en-US" sz="2800" b="1" i="0" u="none" strike="noStrike" kern="0" cap="none" spc="0" normalizeH="0" baseline="0" noProof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anose="020B0502020202020204" pitchFamily="34" charset="0"/>
              </a:rPr>
              <a:t>6</a:t>
            </a:r>
            <a:r>
              <a:rPr kumimoji="0" lang="en-ZA" altLang="en-US" sz="2500" b="1" i="0" u="none" strike="noStrike" kern="0" cap="none" spc="0" normalizeH="0" baseline="0" noProof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anose="020B0502020202020204" pitchFamily="34" charset="0"/>
              </a:rPr>
              <a:t> Integrated work streams support the goal statement</a:t>
            </a:r>
          </a:p>
        </p:txBody>
      </p:sp>
      <p:pic>
        <p:nvPicPr>
          <p:cNvPr id="463877" name="Picture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2700" y="3975100"/>
            <a:ext cx="9144000" cy="2398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xmlns="" id="{783E887A-9A93-4B91-819B-FD34B5303E05}"/>
              </a:ext>
            </a:extLst>
          </p:cNvPr>
          <p:cNvSpPr txBox="1">
            <a:spLocks/>
          </p:cNvSpPr>
          <p:nvPr/>
        </p:nvSpPr>
        <p:spPr bwMode="auto">
          <a:xfrm>
            <a:off x="0" y="0"/>
            <a:ext cx="9144000" cy="1022350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72000" tIns="72000" rIns="72000" bIns="72000"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entury Gothic" panose="020B0502020202020204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entury Gothic" panose="020B0502020202020204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entury Gothic" panose="020B0502020202020204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entury Gothic" panose="020B050202020202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entury Gothic" panose="020B050202020202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entury Gothic" panose="020B050202020202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entury Gothic" panose="020B050202020202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entury Gothic" panose="020B0502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3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itchFamily="34" charset="0"/>
                <a:ea typeface="+mj-ea"/>
                <a:cs typeface="+mj-cs"/>
              </a:rPr>
              <a:t>SIX INTEGRATED WORKSTREAMS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3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entury Gothic" pitchFamily="34" charset="0"/>
                <a:ea typeface="+mj-ea"/>
                <a:cs typeface="+mj-cs"/>
              </a:rPr>
              <a:t>SUPPORT THE GOAL STATEMENT</a:t>
            </a:r>
          </a:p>
        </p:txBody>
      </p:sp>
      <p:sp>
        <p:nvSpPr>
          <p:cNvPr id="2" name="Oval 1">
            <a:extLst>
              <a:ext uri="{FF2B5EF4-FFF2-40B4-BE49-F238E27FC236}">
                <a16:creationId xmlns:a16="http://schemas.microsoft.com/office/drawing/2014/main" xmlns="" id="{E01B9E41-35AD-4444-A0EB-362F3022D4C1}"/>
              </a:ext>
            </a:extLst>
          </p:cNvPr>
          <p:cNvSpPr/>
          <p:nvPr/>
        </p:nvSpPr>
        <p:spPr>
          <a:xfrm>
            <a:off x="3057525" y="2154238"/>
            <a:ext cx="2970213" cy="32639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531813" marR="0" lvl="0" indent="-354013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ZA" sz="14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A29C9711-9249-43E8-9388-8F793177E9BD}"/>
              </a:ext>
            </a:extLst>
          </p:cNvPr>
          <p:cNvSpPr/>
          <p:nvPr/>
        </p:nvSpPr>
        <p:spPr>
          <a:xfrm>
            <a:off x="3263900" y="2592388"/>
            <a:ext cx="2527300" cy="66833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17780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xmlns="" id="{D7F5FA86-D5EB-4D6B-AC3C-DC498ED3CE11}"/>
              </a:ext>
            </a:extLst>
          </p:cNvPr>
          <p:cNvSpPr/>
          <p:nvPr/>
        </p:nvSpPr>
        <p:spPr>
          <a:xfrm>
            <a:off x="3214688" y="3746500"/>
            <a:ext cx="2625725" cy="139858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17780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3505200" y="2746375"/>
            <a:ext cx="2057400" cy="2246769"/>
          </a:xfrm>
          <a:prstGeom prst="rect">
            <a:avLst/>
          </a:prstGeom>
          <a:solidFill>
            <a:schemeClr val="bg2">
              <a:lumMod val="50000"/>
            </a:schemeClr>
          </a:solidFill>
        </p:spPr>
        <p:txBody>
          <a:bodyPr wrap="square">
            <a:spAutoFit/>
          </a:bodyPr>
          <a:lstStyle/>
          <a:p>
            <a:pPr algn="ctr" defTabSz="685800"/>
            <a:r>
              <a:rPr lang="en-US" sz="2000" kern="0" dirty="0">
                <a:solidFill>
                  <a:schemeClr val="bg1"/>
                </a:solidFill>
                <a:latin typeface="Century Gothic" panose="020B0502020202020204" pitchFamily="34" charset="0"/>
              </a:rPr>
              <a:t>Improve  </a:t>
            </a:r>
            <a:r>
              <a:rPr lang="en-US" sz="2000" b="1" kern="0" dirty="0">
                <a:solidFill>
                  <a:schemeClr val="bg1"/>
                </a:solidFill>
                <a:latin typeface="Century Gothic" panose="020B0502020202020204" pitchFamily="34" charset="0"/>
              </a:rPr>
              <a:t> teaching </a:t>
            </a:r>
            <a:r>
              <a:rPr lang="en-US" sz="2000" kern="0" dirty="0">
                <a:solidFill>
                  <a:schemeClr val="bg1"/>
                </a:solidFill>
                <a:latin typeface="Century Gothic" panose="020B0502020202020204" pitchFamily="34" charset="0"/>
              </a:rPr>
              <a:t>and </a:t>
            </a:r>
            <a:r>
              <a:rPr lang="en-US" sz="2000" b="1" kern="0" dirty="0">
                <a:solidFill>
                  <a:schemeClr val="bg1"/>
                </a:solidFill>
                <a:latin typeface="Century Gothic" panose="020B0502020202020204" pitchFamily="34" charset="0"/>
              </a:rPr>
              <a:t>assessment </a:t>
            </a:r>
            <a:r>
              <a:rPr lang="en-US" sz="2000" kern="0" dirty="0">
                <a:solidFill>
                  <a:schemeClr val="bg1"/>
                </a:solidFill>
                <a:latin typeface="Century Gothic" panose="020B0502020202020204" pitchFamily="34" charset="0"/>
              </a:rPr>
              <a:t>to enhance</a:t>
            </a:r>
            <a:r>
              <a:rPr lang="en-US" sz="2000" b="1" kern="0" dirty="0">
                <a:solidFill>
                  <a:schemeClr val="bg1"/>
                </a:solidFill>
                <a:latin typeface="Century Gothic" panose="020B0502020202020204" pitchFamily="34" charset="0"/>
              </a:rPr>
              <a:t> learning </a:t>
            </a:r>
            <a:r>
              <a:rPr lang="en-US" sz="2000" kern="0" dirty="0">
                <a:solidFill>
                  <a:schemeClr val="bg1"/>
                </a:solidFill>
                <a:latin typeface="Century Gothic" panose="020B0502020202020204" pitchFamily="34" charset="0"/>
              </a:rPr>
              <a:t>and learners’                 </a:t>
            </a:r>
            <a:r>
              <a:rPr lang="en-US" sz="2000" b="1" kern="0" dirty="0">
                <a:solidFill>
                  <a:schemeClr val="bg1"/>
                </a:solidFill>
                <a:latin typeface="Century Gothic" panose="020B0502020202020204" pitchFamily="34" charset="0"/>
              </a:rPr>
              <a:t>life chances</a:t>
            </a:r>
            <a:endParaRPr lang="en-US" b="1" kern="0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6216711" y="6534090"/>
            <a:ext cx="3079689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ZA" sz="1600" dirty="0"/>
              <a:t>Across </a:t>
            </a:r>
            <a:r>
              <a:rPr lang="en-ZA" sz="2000" b="1" dirty="0"/>
              <a:t>3</a:t>
            </a:r>
            <a:r>
              <a:rPr lang="en-ZA" sz="1600" dirty="0"/>
              <a:t> Evolving categories 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xmlns="" val="46109779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180976"/>
            <a:ext cx="9036495" cy="559256"/>
          </a:xfrm>
        </p:spPr>
        <p:txBody>
          <a:bodyPr/>
          <a:lstStyle/>
          <a:p>
            <a:r>
              <a:rPr lang="en-ZA" sz="2800" dirty="0"/>
              <a:t>3 x Evolving categories of Roll-out across 6 x streams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4294967295"/>
          </p:nvPr>
        </p:nvSpPr>
        <p:spPr>
          <a:xfrm>
            <a:off x="4043080" y="6468150"/>
            <a:ext cx="4138573" cy="230832"/>
          </a:xfrm>
          <a:prstGeom prst="rect">
            <a:avLst/>
          </a:prstGeom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998F86"/>
                </a:solidFill>
                <a:effectLst/>
                <a:uLnTx/>
                <a:uFillTx/>
              </a:rPr>
              <a:t>Game Changer Presentation</a:t>
            </a: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998F86"/>
              </a:solidFill>
              <a:effectLst/>
              <a:uLnTx/>
              <a:uFillTx/>
            </a:endParaRPr>
          </a:p>
        </p:txBody>
      </p:sp>
      <p:graphicFrame>
        <p:nvGraphicFramePr>
          <p:cNvPr id="4" name="Diagram 3"/>
          <p:cNvGraphicFramePr/>
          <p:nvPr>
            <p:extLst>
              <p:ext uri="{D42A27DB-BD31-4B8C-83A1-F6EECF244321}">
                <p14:modId xmlns:p14="http://schemas.microsoft.com/office/powerpoint/2010/main" xmlns="" val="4023287411"/>
              </p:ext>
            </p:extLst>
          </p:nvPr>
        </p:nvGraphicFramePr>
        <p:xfrm>
          <a:off x="6056600" y="740232"/>
          <a:ext cx="3096562" cy="611776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9" name="Diagram 8"/>
          <p:cNvGraphicFramePr/>
          <p:nvPr>
            <p:extLst>
              <p:ext uri="{D42A27DB-BD31-4B8C-83A1-F6EECF244321}">
                <p14:modId xmlns:p14="http://schemas.microsoft.com/office/powerpoint/2010/main" xmlns="" val="3254986683"/>
              </p:ext>
            </p:extLst>
          </p:nvPr>
        </p:nvGraphicFramePr>
        <p:xfrm>
          <a:off x="3008600" y="937611"/>
          <a:ext cx="3052589" cy="576137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10" name="Diagram 9"/>
          <p:cNvGraphicFramePr/>
          <p:nvPr>
            <p:extLst>
              <p:ext uri="{D42A27DB-BD31-4B8C-83A1-F6EECF244321}">
                <p14:modId xmlns:p14="http://schemas.microsoft.com/office/powerpoint/2010/main" xmlns="" val="1070751222"/>
              </p:ext>
            </p:extLst>
          </p:nvPr>
        </p:nvGraphicFramePr>
        <p:xfrm>
          <a:off x="0" y="740232"/>
          <a:ext cx="3024336" cy="611776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</p:spTree>
    <p:extLst>
      <p:ext uri="{BB962C8B-B14F-4D97-AF65-F5344CB8AC3E}">
        <p14:creationId xmlns:p14="http://schemas.microsoft.com/office/powerpoint/2010/main" xmlns="" val="179550632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2083" name="Slide Number Placeholder 3"/>
          <p:cNvSpPr>
            <a:spLocks noGrp="1"/>
          </p:cNvSpPr>
          <p:nvPr>
            <p:ph type="sldNum" sz="quarter" idx="11"/>
          </p:nvPr>
        </p:nvSpPr>
        <p:spPr bwMode="auto"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557213" indent="-2143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857250" indent="-171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200150" indent="-171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543050" indent="-171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6858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0F18DE83-A579-49C5-AF62-FA2AF31F7C96}" type="slidenum">
              <a:rPr lang="en-ZA" altLang="en-US" sz="1350" kern="0">
                <a:solidFill>
                  <a:srgbClr val="003399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pPr defTabSz="685800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6</a:t>
            </a:fld>
            <a:endParaRPr lang="en-ZA" altLang="en-US" sz="1350" kern="0">
              <a:solidFill>
                <a:srgbClr val="003399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xmlns="" id="{212AB751-9291-49D2-AB5D-A75234E40F39}"/>
              </a:ext>
            </a:extLst>
          </p:cNvPr>
          <p:cNvSpPr txBox="1">
            <a:spLocks/>
          </p:cNvSpPr>
          <p:nvPr/>
        </p:nvSpPr>
        <p:spPr bwMode="auto">
          <a:xfrm>
            <a:off x="1143000" y="76200"/>
            <a:ext cx="6858000" cy="766763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54000" tIns="54000" rIns="54000" bIns="54000"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entury Gothic" panose="020B0502020202020204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entury Gothic" panose="020B0502020202020204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entury Gothic" panose="020B0502020202020204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entury Gothic" panose="020B0502020202020204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entury Gothic" panose="020B0502020202020204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entury Gothic" panose="020B0502020202020204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entury Gothic" panose="020B0502020202020204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400" b="1">
                <a:solidFill>
                  <a:schemeClr val="tx2"/>
                </a:solidFill>
                <a:latin typeface="Century Gothic" panose="020B0502020202020204" pitchFamily="34" charset="0"/>
              </a:defRPr>
            </a:lvl9pPr>
          </a:lstStyle>
          <a:p>
            <a:pPr algn="ctr" defTabSz="685800" eaLnBrk="1" fontAlgn="auto" hangingPunct="1">
              <a:spcAft>
                <a:spcPts val="0"/>
              </a:spcAft>
              <a:defRPr/>
            </a:pPr>
            <a:r>
              <a:rPr lang="en-ZA" dirty="0">
                <a:solidFill>
                  <a:schemeClr val="bg1"/>
                </a:solidFill>
              </a:rPr>
              <a:t>THREE EVOLVING CATEGORIES</a:t>
            </a:r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94672" y="1295400"/>
            <a:ext cx="8939592" cy="4267199"/>
          </a:xfrm>
          <a:prstGeom prst="rect">
            <a:avLst/>
          </a:prstGeom>
        </p:spPr>
      </p:pic>
      <p:sp>
        <p:nvSpPr>
          <p:cNvPr id="4" name="Striped Right Arrow 3"/>
          <p:cNvSpPr/>
          <p:nvPr/>
        </p:nvSpPr>
        <p:spPr>
          <a:xfrm>
            <a:off x="6096000" y="4724400"/>
            <a:ext cx="1752600" cy="762000"/>
          </a:xfrm>
          <a:prstGeom prst="stripedRightArrow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August 2019</a:t>
            </a:r>
          </a:p>
        </p:txBody>
      </p:sp>
    </p:spTree>
    <p:extLst>
      <p:ext uri="{BB962C8B-B14F-4D97-AF65-F5344CB8AC3E}">
        <p14:creationId xmlns:p14="http://schemas.microsoft.com/office/powerpoint/2010/main" xmlns="" val="350158637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7971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95288" y="846138"/>
            <a:ext cx="8748712" cy="79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5636" name="Title 1"/>
          <p:cNvSpPr txBox="1">
            <a:spLocks/>
          </p:cNvSpPr>
          <p:nvPr/>
        </p:nvSpPr>
        <p:spPr bwMode="auto">
          <a:xfrm>
            <a:off x="295275" y="180975"/>
            <a:ext cx="8597900" cy="558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alt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anose="020B0502020202020204" pitchFamily="34" charset="0"/>
              </a:rPr>
              <a:t>Distribution</a:t>
            </a:r>
            <a:r>
              <a:rPr kumimoji="0" lang="en-ZA" altLang="en-US" sz="2800" b="1" i="0" u="none" strike="noStrike" kern="0" cap="none" spc="0" normalizeH="0" noProof="0" dirty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anose="020B0502020202020204" pitchFamily="34" charset="0"/>
              </a:rPr>
              <a:t> a</a:t>
            </a:r>
            <a:r>
              <a:rPr kumimoji="0" lang="en-ZA" alt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anose="020B0502020202020204" pitchFamily="34" charset="0"/>
              </a:rPr>
              <a:t>cross District</a:t>
            </a:r>
            <a:r>
              <a:rPr lang="en-ZA" altLang="en-US" sz="2800" b="1" kern="0" dirty="0">
                <a:solidFill>
                  <a:srgbClr val="003399"/>
                </a:solidFill>
                <a:latin typeface="Century Gothic" panose="020B0502020202020204" pitchFamily="34" charset="0"/>
              </a:rPr>
              <a:t>s</a:t>
            </a:r>
            <a:endParaRPr kumimoji="0" lang="en-ZA" altLang="en-US" sz="2800" b="1" i="0" u="none" strike="noStrike" kern="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pic>
        <p:nvPicPr>
          <p:cNvPr id="467973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0800" y="4116388"/>
            <a:ext cx="9144000" cy="2398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0" y="1031876"/>
            <a:ext cx="4153093" cy="4979363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7543800" y="29123"/>
            <a:ext cx="1600200" cy="7638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97336628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7971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95288" y="846138"/>
            <a:ext cx="8748712" cy="79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5636" name="Title 1"/>
          <p:cNvSpPr txBox="1">
            <a:spLocks/>
          </p:cNvSpPr>
          <p:nvPr/>
        </p:nvSpPr>
        <p:spPr bwMode="auto">
          <a:xfrm>
            <a:off x="295275" y="180975"/>
            <a:ext cx="8597900" cy="558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alt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anose="020B0502020202020204" pitchFamily="34" charset="0"/>
              </a:rPr>
              <a:t>Distribution</a:t>
            </a:r>
            <a:r>
              <a:rPr kumimoji="0" lang="en-ZA" altLang="en-US" sz="2800" b="1" i="0" u="none" strike="noStrike" kern="0" cap="none" spc="0" normalizeH="0" noProof="0" dirty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anose="020B0502020202020204" pitchFamily="34" charset="0"/>
              </a:rPr>
              <a:t> a</a:t>
            </a:r>
            <a:r>
              <a:rPr kumimoji="0" lang="en-ZA" altLang="en-US" sz="2800" b="1" i="0" u="none" strike="noStrike" kern="0" cap="none" spc="0" normalizeH="0" baseline="0" noProof="0" dirty="0">
                <a:ln>
                  <a:noFill/>
                </a:ln>
                <a:solidFill>
                  <a:srgbClr val="003399"/>
                </a:solidFill>
                <a:effectLst/>
                <a:uLnTx/>
                <a:uFillTx/>
                <a:latin typeface="Century Gothic" panose="020B0502020202020204" pitchFamily="34" charset="0"/>
              </a:rPr>
              <a:t>cross District</a:t>
            </a:r>
            <a:r>
              <a:rPr lang="en-ZA" altLang="en-US" sz="2800" b="1" kern="0" dirty="0">
                <a:solidFill>
                  <a:srgbClr val="003399"/>
                </a:solidFill>
                <a:latin typeface="Century Gothic" panose="020B0502020202020204" pitchFamily="34" charset="0"/>
              </a:rPr>
              <a:t>s</a:t>
            </a:r>
            <a:endParaRPr kumimoji="0" lang="en-ZA" altLang="en-US" sz="2800" b="1" i="0" u="none" strike="noStrike" kern="0" cap="none" spc="0" normalizeH="0" baseline="0" noProof="0" dirty="0">
              <a:ln>
                <a:noFill/>
              </a:ln>
              <a:solidFill>
                <a:srgbClr val="003399"/>
              </a:solidFill>
              <a:effectLst/>
              <a:uLnTx/>
              <a:uFillTx/>
              <a:latin typeface="Century Gothic" panose="020B0502020202020204" pitchFamily="34" charset="0"/>
            </a:endParaRPr>
          </a:p>
        </p:txBody>
      </p:sp>
      <p:pic>
        <p:nvPicPr>
          <p:cNvPr id="467973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50800" y="4116388"/>
            <a:ext cx="9144000" cy="2398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0" y="1031876"/>
            <a:ext cx="4153093" cy="4979363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4447309" y="1010132"/>
            <a:ext cx="4696691" cy="502285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6" cstate="print"/>
          <a:stretch>
            <a:fillRect/>
          </a:stretch>
        </p:blipFill>
        <p:spPr>
          <a:xfrm>
            <a:off x="7543800" y="29123"/>
            <a:ext cx="1600200" cy="7638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98860608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354584" y="259207"/>
            <a:ext cx="6851650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400" dirty="0">
                <a:solidFill>
                  <a:srgbClr val="003399"/>
                </a:solidFill>
              </a:rPr>
              <a:t>Overall </a:t>
            </a:r>
            <a:r>
              <a:rPr sz="2400" spc="-5" dirty="0">
                <a:solidFill>
                  <a:srgbClr val="003399"/>
                </a:solidFill>
              </a:rPr>
              <a:t>progress on eLearning </a:t>
            </a:r>
            <a:r>
              <a:rPr lang="en-US" sz="2400" dirty="0">
                <a:solidFill>
                  <a:srgbClr val="003399"/>
                </a:solidFill>
              </a:rPr>
              <a:t>Strategy</a:t>
            </a:r>
            <a:endParaRPr sz="2400" dirty="0"/>
          </a:p>
        </p:txBody>
      </p:sp>
      <p:sp>
        <p:nvSpPr>
          <p:cNvPr id="3" name="object 3"/>
          <p:cNvSpPr/>
          <p:nvPr/>
        </p:nvSpPr>
        <p:spPr>
          <a:xfrm>
            <a:off x="1908048" y="1053083"/>
            <a:ext cx="5605780" cy="5347970"/>
          </a:xfrm>
          <a:custGeom>
            <a:avLst/>
            <a:gdLst/>
            <a:ahLst/>
            <a:cxnLst/>
            <a:rect l="l" t="t" r="r" b="b"/>
            <a:pathLst>
              <a:path w="5605780" h="5347970">
                <a:moveTo>
                  <a:pt x="3016504" y="5080330"/>
                </a:moveTo>
                <a:lnTo>
                  <a:pt x="2588767" y="5080330"/>
                </a:lnTo>
                <a:lnTo>
                  <a:pt x="2802636" y="5347716"/>
                </a:lnTo>
                <a:lnTo>
                  <a:pt x="3016504" y="5080330"/>
                </a:lnTo>
                <a:close/>
              </a:path>
              <a:path w="5605780" h="5347970">
                <a:moveTo>
                  <a:pt x="2856103" y="2727324"/>
                </a:moveTo>
                <a:lnTo>
                  <a:pt x="2749168" y="2727324"/>
                </a:lnTo>
                <a:lnTo>
                  <a:pt x="2749168" y="5080330"/>
                </a:lnTo>
                <a:lnTo>
                  <a:pt x="2856103" y="5080330"/>
                </a:lnTo>
                <a:lnTo>
                  <a:pt x="2856103" y="2727324"/>
                </a:lnTo>
                <a:close/>
              </a:path>
              <a:path w="5605780" h="5347970">
                <a:moveTo>
                  <a:pt x="267334" y="2459990"/>
                </a:moveTo>
                <a:lnTo>
                  <a:pt x="0" y="2673858"/>
                </a:lnTo>
                <a:lnTo>
                  <a:pt x="267334" y="2887726"/>
                </a:lnTo>
                <a:lnTo>
                  <a:pt x="267334" y="2727324"/>
                </a:lnTo>
                <a:lnTo>
                  <a:pt x="5538438" y="2727324"/>
                </a:lnTo>
                <a:lnTo>
                  <a:pt x="5605272" y="2673858"/>
                </a:lnTo>
                <a:lnTo>
                  <a:pt x="5538438" y="2620391"/>
                </a:lnTo>
                <a:lnTo>
                  <a:pt x="267334" y="2620391"/>
                </a:lnTo>
                <a:lnTo>
                  <a:pt x="267334" y="2459990"/>
                </a:lnTo>
                <a:close/>
              </a:path>
              <a:path w="5605780" h="5347970">
                <a:moveTo>
                  <a:pt x="5538438" y="2727324"/>
                </a:moveTo>
                <a:lnTo>
                  <a:pt x="5337936" y="2727324"/>
                </a:lnTo>
                <a:lnTo>
                  <a:pt x="5337936" y="2887726"/>
                </a:lnTo>
                <a:lnTo>
                  <a:pt x="5538438" y="2727324"/>
                </a:lnTo>
                <a:close/>
              </a:path>
              <a:path w="5605780" h="5347970">
                <a:moveTo>
                  <a:pt x="2856103" y="267335"/>
                </a:moveTo>
                <a:lnTo>
                  <a:pt x="2749168" y="267335"/>
                </a:lnTo>
                <a:lnTo>
                  <a:pt x="2749168" y="2620391"/>
                </a:lnTo>
                <a:lnTo>
                  <a:pt x="2856103" y="2620391"/>
                </a:lnTo>
                <a:lnTo>
                  <a:pt x="2856103" y="267335"/>
                </a:lnTo>
                <a:close/>
              </a:path>
              <a:path w="5605780" h="5347970">
                <a:moveTo>
                  <a:pt x="5337936" y="2459990"/>
                </a:moveTo>
                <a:lnTo>
                  <a:pt x="5337936" y="2620391"/>
                </a:lnTo>
                <a:lnTo>
                  <a:pt x="5538438" y="2620391"/>
                </a:lnTo>
                <a:lnTo>
                  <a:pt x="5337936" y="2459990"/>
                </a:lnTo>
                <a:close/>
              </a:path>
              <a:path w="5605780" h="5347970">
                <a:moveTo>
                  <a:pt x="2802636" y="0"/>
                </a:moveTo>
                <a:lnTo>
                  <a:pt x="2588767" y="267335"/>
                </a:lnTo>
                <a:lnTo>
                  <a:pt x="3016504" y="267335"/>
                </a:lnTo>
                <a:lnTo>
                  <a:pt x="2802636" y="0"/>
                </a:lnTo>
                <a:close/>
              </a:path>
            </a:pathLst>
          </a:custGeom>
          <a:solidFill>
            <a:srgbClr val="D4E2E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4"/>
          <p:cNvSpPr/>
          <p:nvPr/>
        </p:nvSpPr>
        <p:spPr>
          <a:xfrm>
            <a:off x="2225801" y="1334261"/>
            <a:ext cx="2242185" cy="2139950"/>
          </a:xfrm>
          <a:custGeom>
            <a:avLst/>
            <a:gdLst/>
            <a:ahLst/>
            <a:cxnLst/>
            <a:rect l="l" t="t" r="r" b="b"/>
            <a:pathLst>
              <a:path w="2242185" h="2139950">
                <a:moveTo>
                  <a:pt x="1885188" y="0"/>
                </a:moveTo>
                <a:lnTo>
                  <a:pt x="356616" y="0"/>
                </a:lnTo>
                <a:lnTo>
                  <a:pt x="308220" y="3255"/>
                </a:lnTo>
                <a:lnTo>
                  <a:pt x="261805" y="12737"/>
                </a:lnTo>
                <a:lnTo>
                  <a:pt x="217795" y="28021"/>
                </a:lnTo>
                <a:lnTo>
                  <a:pt x="176614" y="48683"/>
                </a:lnTo>
                <a:lnTo>
                  <a:pt x="138688" y="74298"/>
                </a:lnTo>
                <a:lnTo>
                  <a:pt x="104441" y="104441"/>
                </a:lnTo>
                <a:lnTo>
                  <a:pt x="74298" y="138688"/>
                </a:lnTo>
                <a:lnTo>
                  <a:pt x="48683" y="176614"/>
                </a:lnTo>
                <a:lnTo>
                  <a:pt x="28021" y="217795"/>
                </a:lnTo>
                <a:lnTo>
                  <a:pt x="12737" y="261805"/>
                </a:lnTo>
                <a:lnTo>
                  <a:pt x="3255" y="308220"/>
                </a:lnTo>
                <a:lnTo>
                  <a:pt x="0" y="356615"/>
                </a:lnTo>
                <a:lnTo>
                  <a:pt x="0" y="1783079"/>
                </a:lnTo>
                <a:lnTo>
                  <a:pt x="3255" y="1831475"/>
                </a:lnTo>
                <a:lnTo>
                  <a:pt x="12737" y="1877890"/>
                </a:lnTo>
                <a:lnTo>
                  <a:pt x="28021" y="1921900"/>
                </a:lnTo>
                <a:lnTo>
                  <a:pt x="48683" y="1963081"/>
                </a:lnTo>
                <a:lnTo>
                  <a:pt x="74298" y="2001007"/>
                </a:lnTo>
                <a:lnTo>
                  <a:pt x="104441" y="2035254"/>
                </a:lnTo>
                <a:lnTo>
                  <a:pt x="138688" y="2065397"/>
                </a:lnTo>
                <a:lnTo>
                  <a:pt x="176614" y="2091012"/>
                </a:lnTo>
                <a:lnTo>
                  <a:pt x="217795" y="2111674"/>
                </a:lnTo>
                <a:lnTo>
                  <a:pt x="261805" y="2126958"/>
                </a:lnTo>
                <a:lnTo>
                  <a:pt x="308220" y="2136440"/>
                </a:lnTo>
                <a:lnTo>
                  <a:pt x="356616" y="2139696"/>
                </a:lnTo>
                <a:lnTo>
                  <a:pt x="1885188" y="2139696"/>
                </a:lnTo>
                <a:lnTo>
                  <a:pt x="1933583" y="2136440"/>
                </a:lnTo>
                <a:lnTo>
                  <a:pt x="1979998" y="2126958"/>
                </a:lnTo>
                <a:lnTo>
                  <a:pt x="2024008" y="2111674"/>
                </a:lnTo>
                <a:lnTo>
                  <a:pt x="2065189" y="2091012"/>
                </a:lnTo>
                <a:lnTo>
                  <a:pt x="2103115" y="2065397"/>
                </a:lnTo>
                <a:lnTo>
                  <a:pt x="2137362" y="2035254"/>
                </a:lnTo>
                <a:lnTo>
                  <a:pt x="2167505" y="2001007"/>
                </a:lnTo>
                <a:lnTo>
                  <a:pt x="2193120" y="1963081"/>
                </a:lnTo>
                <a:lnTo>
                  <a:pt x="2213782" y="1921900"/>
                </a:lnTo>
                <a:lnTo>
                  <a:pt x="2229066" y="1877890"/>
                </a:lnTo>
                <a:lnTo>
                  <a:pt x="2238548" y="1831475"/>
                </a:lnTo>
                <a:lnTo>
                  <a:pt x="2241804" y="1783079"/>
                </a:lnTo>
                <a:lnTo>
                  <a:pt x="2241804" y="356615"/>
                </a:lnTo>
                <a:lnTo>
                  <a:pt x="2238548" y="308220"/>
                </a:lnTo>
                <a:lnTo>
                  <a:pt x="2229066" y="261805"/>
                </a:lnTo>
                <a:lnTo>
                  <a:pt x="2213782" y="217795"/>
                </a:lnTo>
                <a:lnTo>
                  <a:pt x="2193120" y="176614"/>
                </a:lnTo>
                <a:lnTo>
                  <a:pt x="2167505" y="138688"/>
                </a:lnTo>
                <a:lnTo>
                  <a:pt x="2137362" y="104441"/>
                </a:lnTo>
                <a:lnTo>
                  <a:pt x="2103115" y="74298"/>
                </a:lnTo>
                <a:lnTo>
                  <a:pt x="2065189" y="48683"/>
                </a:lnTo>
                <a:lnTo>
                  <a:pt x="2024008" y="28021"/>
                </a:lnTo>
                <a:lnTo>
                  <a:pt x="1979998" y="12737"/>
                </a:lnTo>
                <a:lnTo>
                  <a:pt x="1933583" y="3255"/>
                </a:lnTo>
                <a:lnTo>
                  <a:pt x="1885188" y="0"/>
                </a:lnTo>
                <a:close/>
              </a:path>
            </a:pathLst>
          </a:custGeom>
          <a:solidFill>
            <a:srgbClr val="00339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" name="object 5"/>
          <p:cNvSpPr/>
          <p:nvPr/>
        </p:nvSpPr>
        <p:spPr>
          <a:xfrm>
            <a:off x="2225801" y="1334261"/>
            <a:ext cx="2242185" cy="2139950"/>
          </a:xfrm>
          <a:custGeom>
            <a:avLst/>
            <a:gdLst/>
            <a:ahLst/>
            <a:cxnLst/>
            <a:rect l="l" t="t" r="r" b="b"/>
            <a:pathLst>
              <a:path w="2242185" h="2139950">
                <a:moveTo>
                  <a:pt x="0" y="356615"/>
                </a:moveTo>
                <a:lnTo>
                  <a:pt x="3255" y="308220"/>
                </a:lnTo>
                <a:lnTo>
                  <a:pt x="12737" y="261805"/>
                </a:lnTo>
                <a:lnTo>
                  <a:pt x="28021" y="217795"/>
                </a:lnTo>
                <a:lnTo>
                  <a:pt x="48683" y="176614"/>
                </a:lnTo>
                <a:lnTo>
                  <a:pt x="74298" y="138688"/>
                </a:lnTo>
                <a:lnTo>
                  <a:pt x="104441" y="104441"/>
                </a:lnTo>
                <a:lnTo>
                  <a:pt x="138688" y="74298"/>
                </a:lnTo>
                <a:lnTo>
                  <a:pt x="176614" y="48683"/>
                </a:lnTo>
                <a:lnTo>
                  <a:pt x="217795" y="28021"/>
                </a:lnTo>
                <a:lnTo>
                  <a:pt x="261805" y="12737"/>
                </a:lnTo>
                <a:lnTo>
                  <a:pt x="308220" y="3255"/>
                </a:lnTo>
                <a:lnTo>
                  <a:pt x="356616" y="0"/>
                </a:lnTo>
                <a:lnTo>
                  <a:pt x="1885188" y="0"/>
                </a:lnTo>
                <a:lnTo>
                  <a:pt x="1933583" y="3255"/>
                </a:lnTo>
                <a:lnTo>
                  <a:pt x="1979998" y="12737"/>
                </a:lnTo>
                <a:lnTo>
                  <a:pt x="2024008" y="28021"/>
                </a:lnTo>
                <a:lnTo>
                  <a:pt x="2065189" y="48683"/>
                </a:lnTo>
                <a:lnTo>
                  <a:pt x="2103115" y="74298"/>
                </a:lnTo>
                <a:lnTo>
                  <a:pt x="2137362" y="104441"/>
                </a:lnTo>
                <a:lnTo>
                  <a:pt x="2167505" y="138688"/>
                </a:lnTo>
                <a:lnTo>
                  <a:pt x="2193120" y="176614"/>
                </a:lnTo>
                <a:lnTo>
                  <a:pt x="2213782" y="217795"/>
                </a:lnTo>
                <a:lnTo>
                  <a:pt x="2229066" y="261805"/>
                </a:lnTo>
                <a:lnTo>
                  <a:pt x="2238548" y="308220"/>
                </a:lnTo>
                <a:lnTo>
                  <a:pt x="2241804" y="356615"/>
                </a:lnTo>
                <a:lnTo>
                  <a:pt x="2241804" y="1783079"/>
                </a:lnTo>
                <a:lnTo>
                  <a:pt x="2238548" y="1831475"/>
                </a:lnTo>
                <a:lnTo>
                  <a:pt x="2229066" y="1877890"/>
                </a:lnTo>
                <a:lnTo>
                  <a:pt x="2213782" y="1921900"/>
                </a:lnTo>
                <a:lnTo>
                  <a:pt x="2193120" y="1963081"/>
                </a:lnTo>
                <a:lnTo>
                  <a:pt x="2167505" y="2001007"/>
                </a:lnTo>
                <a:lnTo>
                  <a:pt x="2137362" y="2035254"/>
                </a:lnTo>
                <a:lnTo>
                  <a:pt x="2103115" y="2065397"/>
                </a:lnTo>
                <a:lnTo>
                  <a:pt x="2065189" y="2091012"/>
                </a:lnTo>
                <a:lnTo>
                  <a:pt x="2024008" y="2111674"/>
                </a:lnTo>
                <a:lnTo>
                  <a:pt x="1979998" y="2126958"/>
                </a:lnTo>
                <a:lnTo>
                  <a:pt x="1933583" y="2136440"/>
                </a:lnTo>
                <a:lnTo>
                  <a:pt x="1885188" y="2139696"/>
                </a:lnTo>
                <a:lnTo>
                  <a:pt x="356616" y="2139696"/>
                </a:lnTo>
                <a:lnTo>
                  <a:pt x="308220" y="2136440"/>
                </a:lnTo>
                <a:lnTo>
                  <a:pt x="261805" y="2126958"/>
                </a:lnTo>
                <a:lnTo>
                  <a:pt x="217795" y="2111674"/>
                </a:lnTo>
                <a:lnTo>
                  <a:pt x="176614" y="2091012"/>
                </a:lnTo>
                <a:lnTo>
                  <a:pt x="138688" y="2065397"/>
                </a:lnTo>
                <a:lnTo>
                  <a:pt x="104441" y="2035254"/>
                </a:lnTo>
                <a:lnTo>
                  <a:pt x="74298" y="2001007"/>
                </a:lnTo>
                <a:lnTo>
                  <a:pt x="48683" y="1963081"/>
                </a:lnTo>
                <a:lnTo>
                  <a:pt x="28021" y="1921900"/>
                </a:lnTo>
                <a:lnTo>
                  <a:pt x="12737" y="1877890"/>
                </a:lnTo>
                <a:lnTo>
                  <a:pt x="3255" y="1831475"/>
                </a:lnTo>
                <a:lnTo>
                  <a:pt x="0" y="1783079"/>
                </a:lnTo>
                <a:lnTo>
                  <a:pt x="0" y="356615"/>
                </a:lnTo>
                <a:close/>
              </a:path>
            </a:pathLst>
          </a:custGeom>
          <a:ln w="25908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" name="object 6"/>
          <p:cNvSpPr txBox="1"/>
          <p:nvPr/>
        </p:nvSpPr>
        <p:spPr>
          <a:xfrm>
            <a:off x="2286000" y="1468882"/>
            <a:ext cx="2181986" cy="1621982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50520">
              <a:lnSpc>
                <a:spcPct val="100000"/>
              </a:lnSpc>
              <a:spcBef>
                <a:spcPts val="100"/>
              </a:spcBef>
            </a:pPr>
            <a:r>
              <a:rPr lang="en-US" sz="1800" b="1" dirty="0">
                <a:solidFill>
                  <a:srgbClr val="FFFFFF"/>
                </a:solidFill>
                <a:latin typeface="Century Gothic"/>
                <a:cs typeface="Century Gothic"/>
              </a:rPr>
              <a:t>    </a:t>
            </a:r>
            <a:r>
              <a:rPr sz="1800" b="1" dirty="0">
                <a:solidFill>
                  <a:srgbClr val="FFFFFF"/>
                </a:solidFill>
                <a:latin typeface="Century Gothic"/>
                <a:cs typeface="Century Gothic"/>
              </a:rPr>
              <a:t>ACCESS</a:t>
            </a:r>
            <a:endParaRPr sz="1800" dirty="0">
              <a:latin typeface="Century Gothic"/>
              <a:cs typeface="Century Gothic"/>
            </a:endParaRPr>
          </a:p>
          <a:p>
            <a:pPr>
              <a:lnSpc>
                <a:spcPct val="100000"/>
              </a:lnSpc>
              <a:spcBef>
                <a:spcPts val="35"/>
              </a:spcBef>
            </a:pPr>
            <a:endParaRPr sz="2400" dirty="0">
              <a:latin typeface="Times New Roman"/>
              <a:cs typeface="Times New Roman"/>
            </a:endParaRPr>
          </a:p>
          <a:p>
            <a:pPr marL="12700" marR="5080" algn="ctr">
              <a:lnSpc>
                <a:spcPct val="92000"/>
              </a:lnSpc>
              <a:spcBef>
                <a:spcPts val="5"/>
              </a:spcBef>
            </a:pPr>
            <a:r>
              <a:rPr lang="en-US" sz="1700" spc="-5" dirty="0">
                <a:solidFill>
                  <a:srgbClr val="FFFFFF"/>
                </a:solidFill>
                <a:latin typeface="Century Gothic"/>
                <a:cs typeface="Century Gothic"/>
              </a:rPr>
              <a:t>Infrastructure and Technology </a:t>
            </a:r>
            <a:r>
              <a:rPr lang="en-US" sz="1700" dirty="0">
                <a:solidFill>
                  <a:srgbClr val="FFFFFF"/>
                </a:solidFill>
                <a:latin typeface="Century Gothic"/>
                <a:cs typeface="Century Gothic"/>
              </a:rPr>
              <a:t>gains</a:t>
            </a:r>
            <a:r>
              <a:rPr sz="1700" dirty="0">
                <a:solidFill>
                  <a:srgbClr val="FFFFFF"/>
                </a:solidFill>
                <a:latin typeface="Century Gothic"/>
                <a:cs typeface="Century Gothic"/>
              </a:rPr>
              <a:t>,</a:t>
            </a:r>
            <a:r>
              <a:rPr sz="1700" spc="-100" dirty="0">
                <a:solidFill>
                  <a:srgbClr val="FFFFFF"/>
                </a:solidFill>
                <a:latin typeface="Century Gothic"/>
                <a:cs typeface="Century Gothic"/>
              </a:rPr>
              <a:t> </a:t>
            </a:r>
            <a:r>
              <a:rPr sz="1700" spc="-5" dirty="0">
                <a:solidFill>
                  <a:srgbClr val="FFFFFF"/>
                </a:solidFill>
                <a:latin typeface="Century Gothic"/>
                <a:cs typeface="Century Gothic"/>
              </a:rPr>
              <a:t>but  connectivity</a:t>
            </a:r>
            <a:r>
              <a:rPr lang="en-US" sz="1700" spc="-5" dirty="0">
                <a:solidFill>
                  <a:srgbClr val="FFFFFF"/>
                </a:solidFill>
                <a:latin typeface="Century Gothic"/>
                <a:cs typeface="Century Gothic"/>
              </a:rPr>
              <a:t>-challenge </a:t>
            </a:r>
            <a:r>
              <a:rPr sz="1700" dirty="0">
                <a:solidFill>
                  <a:srgbClr val="FFFFFF"/>
                </a:solidFill>
                <a:latin typeface="Century Gothic"/>
                <a:cs typeface="Century Gothic"/>
              </a:rPr>
              <a:t>remains</a:t>
            </a:r>
            <a:endParaRPr sz="1700" dirty="0">
              <a:latin typeface="Century Gothic"/>
              <a:cs typeface="Century Gothic"/>
            </a:endParaRPr>
          </a:p>
        </p:txBody>
      </p:sp>
      <p:sp>
        <p:nvSpPr>
          <p:cNvPr id="7" name="object 7"/>
          <p:cNvSpPr/>
          <p:nvPr/>
        </p:nvSpPr>
        <p:spPr>
          <a:xfrm>
            <a:off x="4955285" y="1306830"/>
            <a:ext cx="2243455" cy="2194560"/>
          </a:xfrm>
          <a:custGeom>
            <a:avLst/>
            <a:gdLst/>
            <a:ahLst/>
            <a:cxnLst/>
            <a:rect l="l" t="t" r="r" b="b"/>
            <a:pathLst>
              <a:path w="2243454" h="2194560">
                <a:moveTo>
                  <a:pt x="1877567" y="0"/>
                </a:moveTo>
                <a:lnTo>
                  <a:pt x="365760" y="0"/>
                </a:lnTo>
                <a:lnTo>
                  <a:pt x="319869" y="2848"/>
                </a:lnTo>
                <a:lnTo>
                  <a:pt x="275682" y="11167"/>
                </a:lnTo>
                <a:lnTo>
                  <a:pt x="233542" y="24613"/>
                </a:lnTo>
                <a:lnTo>
                  <a:pt x="193790" y="42844"/>
                </a:lnTo>
                <a:lnTo>
                  <a:pt x="156770" y="65517"/>
                </a:lnTo>
                <a:lnTo>
                  <a:pt x="122822" y="92291"/>
                </a:lnTo>
                <a:lnTo>
                  <a:pt x="92291" y="122822"/>
                </a:lnTo>
                <a:lnTo>
                  <a:pt x="65517" y="156770"/>
                </a:lnTo>
                <a:lnTo>
                  <a:pt x="42844" y="193790"/>
                </a:lnTo>
                <a:lnTo>
                  <a:pt x="24613" y="233542"/>
                </a:lnTo>
                <a:lnTo>
                  <a:pt x="11167" y="275682"/>
                </a:lnTo>
                <a:lnTo>
                  <a:pt x="2848" y="319869"/>
                </a:lnTo>
                <a:lnTo>
                  <a:pt x="0" y="365760"/>
                </a:lnTo>
                <a:lnTo>
                  <a:pt x="0" y="1828800"/>
                </a:lnTo>
                <a:lnTo>
                  <a:pt x="2848" y="1874690"/>
                </a:lnTo>
                <a:lnTo>
                  <a:pt x="11167" y="1918877"/>
                </a:lnTo>
                <a:lnTo>
                  <a:pt x="24613" y="1961017"/>
                </a:lnTo>
                <a:lnTo>
                  <a:pt x="42844" y="2000769"/>
                </a:lnTo>
                <a:lnTo>
                  <a:pt x="65517" y="2037789"/>
                </a:lnTo>
                <a:lnTo>
                  <a:pt x="92291" y="2071737"/>
                </a:lnTo>
                <a:lnTo>
                  <a:pt x="122822" y="2102268"/>
                </a:lnTo>
                <a:lnTo>
                  <a:pt x="156770" y="2129042"/>
                </a:lnTo>
                <a:lnTo>
                  <a:pt x="193790" y="2151715"/>
                </a:lnTo>
                <a:lnTo>
                  <a:pt x="233542" y="2169946"/>
                </a:lnTo>
                <a:lnTo>
                  <a:pt x="275682" y="2183392"/>
                </a:lnTo>
                <a:lnTo>
                  <a:pt x="319869" y="2191711"/>
                </a:lnTo>
                <a:lnTo>
                  <a:pt x="365760" y="2194560"/>
                </a:lnTo>
                <a:lnTo>
                  <a:pt x="1877567" y="2194560"/>
                </a:lnTo>
                <a:lnTo>
                  <a:pt x="1923458" y="2191711"/>
                </a:lnTo>
                <a:lnTo>
                  <a:pt x="1967645" y="2183392"/>
                </a:lnTo>
                <a:lnTo>
                  <a:pt x="2009785" y="2169946"/>
                </a:lnTo>
                <a:lnTo>
                  <a:pt x="2049537" y="2151715"/>
                </a:lnTo>
                <a:lnTo>
                  <a:pt x="2086557" y="2129042"/>
                </a:lnTo>
                <a:lnTo>
                  <a:pt x="2120505" y="2102268"/>
                </a:lnTo>
                <a:lnTo>
                  <a:pt x="2151036" y="2071737"/>
                </a:lnTo>
                <a:lnTo>
                  <a:pt x="2177810" y="2037789"/>
                </a:lnTo>
                <a:lnTo>
                  <a:pt x="2200483" y="2000769"/>
                </a:lnTo>
                <a:lnTo>
                  <a:pt x="2218714" y="1961017"/>
                </a:lnTo>
                <a:lnTo>
                  <a:pt x="2232160" y="1918877"/>
                </a:lnTo>
                <a:lnTo>
                  <a:pt x="2240479" y="1874690"/>
                </a:lnTo>
                <a:lnTo>
                  <a:pt x="2243328" y="1828800"/>
                </a:lnTo>
                <a:lnTo>
                  <a:pt x="2243328" y="365760"/>
                </a:lnTo>
                <a:lnTo>
                  <a:pt x="2240479" y="319869"/>
                </a:lnTo>
                <a:lnTo>
                  <a:pt x="2232160" y="275682"/>
                </a:lnTo>
                <a:lnTo>
                  <a:pt x="2218714" y="233542"/>
                </a:lnTo>
                <a:lnTo>
                  <a:pt x="2200483" y="193790"/>
                </a:lnTo>
                <a:lnTo>
                  <a:pt x="2177810" y="156770"/>
                </a:lnTo>
                <a:lnTo>
                  <a:pt x="2151036" y="122822"/>
                </a:lnTo>
                <a:lnTo>
                  <a:pt x="2120505" y="92291"/>
                </a:lnTo>
                <a:lnTo>
                  <a:pt x="2086557" y="65517"/>
                </a:lnTo>
                <a:lnTo>
                  <a:pt x="2049537" y="42844"/>
                </a:lnTo>
                <a:lnTo>
                  <a:pt x="2009785" y="24613"/>
                </a:lnTo>
                <a:lnTo>
                  <a:pt x="1967645" y="11167"/>
                </a:lnTo>
                <a:lnTo>
                  <a:pt x="1923458" y="2848"/>
                </a:lnTo>
                <a:lnTo>
                  <a:pt x="1877567" y="0"/>
                </a:lnTo>
                <a:close/>
              </a:path>
            </a:pathLst>
          </a:custGeom>
          <a:solidFill>
            <a:srgbClr val="00339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8" name="object 8"/>
          <p:cNvSpPr/>
          <p:nvPr/>
        </p:nvSpPr>
        <p:spPr>
          <a:xfrm>
            <a:off x="4955285" y="1306830"/>
            <a:ext cx="2243455" cy="2194560"/>
          </a:xfrm>
          <a:custGeom>
            <a:avLst/>
            <a:gdLst/>
            <a:ahLst/>
            <a:cxnLst/>
            <a:rect l="l" t="t" r="r" b="b"/>
            <a:pathLst>
              <a:path w="2243454" h="2194560">
                <a:moveTo>
                  <a:pt x="0" y="365760"/>
                </a:moveTo>
                <a:lnTo>
                  <a:pt x="2848" y="319869"/>
                </a:lnTo>
                <a:lnTo>
                  <a:pt x="11167" y="275682"/>
                </a:lnTo>
                <a:lnTo>
                  <a:pt x="24613" y="233542"/>
                </a:lnTo>
                <a:lnTo>
                  <a:pt x="42844" y="193790"/>
                </a:lnTo>
                <a:lnTo>
                  <a:pt x="65517" y="156770"/>
                </a:lnTo>
                <a:lnTo>
                  <a:pt x="92291" y="122822"/>
                </a:lnTo>
                <a:lnTo>
                  <a:pt x="122822" y="92291"/>
                </a:lnTo>
                <a:lnTo>
                  <a:pt x="156770" y="65517"/>
                </a:lnTo>
                <a:lnTo>
                  <a:pt x="193790" y="42844"/>
                </a:lnTo>
                <a:lnTo>
                  <a:pt x="233542" y="24613"/>
                </a:lnTo>
                <a:lnTo>
                  <a:pt x="275682" y="11167"/>
                </a:lnTo>
                <a:lnTo>
                  <a:pt x="319869" y="2848"/>
                </a:lnTo>
                <a:lnTo>
                  <a:pt x="365760" y="0"/>
                </a:lnTo>
                <a:lnTo>
                  <a:pt x="1877567" y="0"/>
                </a:lnTo>
                <a:lnTo>
                  <a:pt x="1923458" y="2848"/>
                </a:lnTo>
                <a:lnTo>
                  <a:pt x="1967645" y="11167"/>
                </a:lnTo>
                <a:lnTo>
                  <a:pt x="2009785" y="24613"/>
                </a:lnTo>
                <a:lnTo>
                  <a:pt x="2049537" y="42844"/>
                </a:lnTo>
                <a:lnTo>
                  <a:pt x="2086557" y="65517"/>
                </a:lnTo>
                <a:lnTo>
                  <a:pt x="2120505" y="92291"/>
                </a:lnTo>
                <a:lnTo>
                  <a:pt x="2151036" y="122822"/>
                </a:lnTo>
                <a:lnTo>
                  <a:pt x="2177810" y="156770"/>
                </a:lnTo>
                <a:lnTo>
                  <a:pt x="2200483" y="193790"/>
                </a:lnTo>
                <a:lnTo>
                  <a:pt x="2218714" y="233542"/>
                </a:lnTo>
                <a:lnTo>
                  <a:pt x="2232160" y="275682"/>
                </a:lnTo>
                <a:lnTo>
                  <a:pt x="2240479" y="319869"/>
                </a:lnTo>
                <a:lnTo>
                  <a:pt x="2243328" y="365760"/>
                </a:lnTo>
                <a:lnTo>
                  <a:pt x="2243328" y="1828800"/>
                </a:lnTo>
                <a:lnTo>
                  <a:pt x="2240479" y="1874690"/>
                </a:lnTo>
                <a:lnTo>
                  <a:pt x="2232160" y="1918877"/>
                </a:lnTo>
                <a:lnTo>
                  <a:pt x="2218714" y="1961017"/>
                </a:lnTo>
                <a:lnTo>
                  <a:pt x="2200483" y="2000769"/>
                </a:lnTo>
                <a:lnTo>
                  <a:pt x="2177810" y="2037789"/>
                </a:lnTo>
                <a:lnTo>
                  <a:pt x="2151036" y="2071737"/>
                </a:lnTo>
                <a:lnTo>
                  <a:pt x="2120505" y="2102268"/>
                </a:lnTo>
                <a:lnTo>
                  <a:pt x="2086557" y="2129042"/>
                </a:lnTo>
                <a:lnTo>
                  <a:pt x="2049537" y="2151715"/>
                </a:lnTo>
                <a:lnTo>
                  <a:pt x="2009785" y="2169946"/>
                </a:lnTo>
                <a:lnTo>
                  <a:pt x="1967645" y="2183392"/>
                </a:lnTo>
                <a:lnTo>
                  <a:pt x="1923458" y="2191711"/>
                </a:lnTo>
                <a:lnTo>
                  <a:pt x="1877567" y="2194560"/>
                </a:lnTo>
                <a:lnTo>
                  <a:pt x="365760" y="2194560"/>
                </a:lnTo>
                <a:lnTo>
                  <a:pt x="319869" y="2191711"/>
                </a:lnTo>
                <a:lnTo>
                  <a:pt x="275682" y="2183392"/>
                </a:lnTo>
                <a:lnTo>
                  <a:pt x="233542" y="2169946"/>
                </a:lnTo>
                <a:lnTo>
                  <a:pt x="193790" y="2151715"/>
                </a:lnTo>
                <a:lnTo>
                  <a:pt x="156770" y="2129042"/>
                </a:lnTo>
                <a:lnTo>
                  <a:pt x="122822" y="2102268"/>
                </a:lnTo>
                <a:lnTo>
                  <a:pt x="92291" y="2071737"/>
                </a:lnTo>
                <a:lnTo>
                  <a:pt x="65517" y="2037789"/>
                </a:lnTo>
                <a:lnTo>
                  <a:pt x="42844" y="2000769"/>
                </a:lnTo>
                <a:lnTo>
                  <a:pt x="24613" y="1961017"/>
                </a:lnTo>
                <a:lnTo>
                  <a:pt x="11167" y="1918877"/>
                </a:lnTo>
                <a:lnTo>
                  <a:pt x="2848" y="1874690"/>
                </a:lnTo>
                <a:lnTo>
                  <a:pt x="0" y="1828800"/>
                </a:lnTo>
                <a:lnTo>
                  <a:pt x="0" y="365760"/>
                </a:lnTo>
                <a:close/>
              </a:path>
            </a:pathLst>
          </a:custGeom>
          <a:ln w="25908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" name="object 9"/>
          <p:cNvSpPr txBox="1"/>
          <p:nvPr/>
        </p:nvSpPr>
        <p:spPr>
          <a:xfrm>
            <a:off x="5105400" y="1305542"/>
            <a:ext cx="2093340" cy="2043252"/>
          </a:xfrm>
          <a:prstGeom prst="rect">
            <a:avLst/>
          </a:prstGeom>
        </p:spPr>
        <p:txBody>
          <a:bodyPr vert="horz" wrap="square" lIns="0" tIns="151130" rIns="0" bIns="0" rtlCol="0">
            <a:spAutoFit/>
          </a:bodyPr>
          <a:lstStyle/>
          <a:p>
            <a:pPr marL="131445">
              <a:lnSpc>
                <a:spcPct val="100000"/>
              </a:lnSpc>
              <a:spcBef>
                <a:spcPts val="1190"/>
              </a:spcBef>
            </a:pPr>
            <a:r>
              <a:rPr sz="1800" b="1" dirty="0">
                <a:solidFill>
                  <a:srgbClr val="FFFFFF"/>
                </a:solidFill>
                <a:latin typeface="Century Gothic"/>
                <a:cs typeface="Century Gothic"/>
              </a:rPr>
              <a:t>ACCEPTANCE</a:t>
            </a:r>
            <a:endParaRPr sz="1800" dirty="0">
              <a:latin typeface="Century Gothic"/>
              <a:cs typeface="Century Gothic"/>
            </a:endParaRPr>
          </a:p>
          <a:p>
            <a:pPr marL="53340" marR="48260" algn="ctr">
              <a:lnSpc>
                <a:spcPts val="1870"/>
              </a:lnSpc>
              <a:spcBef>
                <a:spcPts val="1240"/>
              </a:spcBef>
            </a:pPr>
            <a:r>
              <a:rPr sz="1700" dirty="0">
                <a:solidFill>
                  <a:srgbClr val="FFFFFF"/>
                </a:solidFill>
                <a:latin typeface="Century Gothic"/>
                <a:cs typeface="Century Gothic"/>
              </a:rPr>
              <a:t>Positive</a:t>
            </a:r>
            <a:r>
              <a:rPr sz="1700" spc="-90" dirty="0">
                <a:solidFill>
                  <a:srgbClr val="FFFFFF"/>
                </a:solidFill>
                <a:latin typeface="Century Gothic"/>
                <a:cs typeface="Century Gothic"/>
              </a:rPr>
              <a:t> </a:t>
            </a:r>
            <a:r>
              <a:rPr sz="1700" spc="-10" dirty="0">
                <a:solidFill>
                  <a:srgbClr val="FFFFFF"/>
                </a:solidFill>
                <a:latin typeface="Century Gothic"/>
                <a:cs typeface="Century Gothic"/>
              </a:rPr>
              <a:t>attitude  to </a:t>
            </a:r>
            <a:r>
              <a:rPr sz="1700" dirty="0">
                <a:solidFill>
                  <a:srgbClr val="FFFFFF"/>
                </a:solidFill>
                <a:latin typeface="Century Gothic"/>
                <a:cs typeface="Century Gothic"/>
              </a:rPr>
              <a:t>eLearning overall</a:t>
            </a:r>
            <a:endParaRPr sz="1700" dirty="0">
              <a:latin typeface="Century Gothic"/>
              <a:cs typeface="Century Gothic"/>
            </a:endParaRPr>
          </a:p>
          <a:p>
            <a:pPr marL="12700" marR="5080" indent="-1905" algn="ctr">
              <a:lnSpc>
                <a:spcPct val="92100"/>
              </a:lnSpc>
              <a:spcBef>
                <a:spcPts val="695"/>
              </a:spcBef>
            </a:pPr>
            <a:endParaRPr lang="en-US" sz="500" dirty="0">
              <a:solidFill>
                <a:srgbClr val="FFFFFF"/>
              </a:solidFill>
              <a:latin typeface="Century Gothic"/>
              <a:cs typeface="Century Gothic"/>
            </a:endParaRPr>
          </a:p>
          <a:p>
            <a:pPr marL="12700" marR="5080" indent="-1905" algn="ctr">
              <a:lnSpc>
                <a:spcPct val="92100"/>
              </a:lnSpc>
              <a:spcBef>
                <a:spcPts val="695"/>
              </a:spcBef>
            </a:pPr>
            <a:r>
              <a:rPr sz="1700" dirty="0">
                <a:solidFill>
                  <a:srgbClr val="FFFFFF"/>
                </a:solidFill>
                <a:latin typeface="Century Gothic"/>
                <a:cs typeface="Century Gothic"/>
              </a:rPr>
              <a:t>Learner  experience</a:t>
            </a:r>
            <a:r>
              <a:rPr sz="1700" spc="-110" dirty="0">
                <a:solidFill>
                  <a:srgbClr val="FFFFFF"/>
                </a:solidFill>
                <a:latin typeface="Century Gothic"/>
                <a:cs typeface="Century Gothic"/>
              </a:rPr>
              <a:t> </a:t>
            </a:r>
            <a:r>
              <a:rPr sz="1700" spc="-5" dirty="0">
                <a:solidFill>
                  <a:srgbClr val="FFFFFF"/>
                </a:solidFill>
                <a:latin typeface="Century Gothic"/>
                <a:cs typeface="Century Gothic"/>
              </a:rPr>
              <a:t>must  </a:t>
            </a:r>
            <a:r>
              <a:rPr sz="1700" dirty="0">
                <a:solidFill>
                  <a:srgbClr val="FFFFFF"/>
                </a:solidFill>
                <a:latin typeface="Century Gothic"/>
                <a:cs typeface="Century Gothic"/>
              </a:rPr>
              <a:t>remain a</a:t>
            </a:r>
            <a:r>
              <a:rPr sz="1700" spc="-65" dirty="0">
                <a:solidFill>
                  <a:srgbClr val="FFFFFF"/>
                </a:solidFill>
                <a:latin typeface="Century Gothic"/>
                <a:cs typeface="Century Gothic"/>
              </a:rPr>
              <a:t> </a:t>
            </a:r>
            <a:r>
              <a:rPr sz="1700" dirty="0">
                <a:solidFill>
                  <a:srgbClr val="FFFFFF"/>
                </a:solidFill>
                <a:latin typeface="Century Gothic"/>
                <a:cs typeface="Century Gothic"/>
              </a:rPr>
              <a:t>focus</a:t>
            </a:r>
            <a:endParaRPr sz="1700" dirty="0">
              <a:latin typeface="Century Gothic"/>
              <a:cs typeface="Century Gothic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2225801" y="4065270"/>
            <a:ext cx="2242185" cy="2138680"/>
          </a:xfrm>
          <a:custGeom>
            <a:avLst/>
            <a:gdLst/>
            <a:ahLst/>
            <a:cxnLst/>
            <a:rect l="l" t="t" r="r" b="b"/>
            <a:pathLst>
              <a:path w="2242185" h="2138679">
                <a:moveTo>
                  <a:pt x="1885442" y="0"/>
                </a:moveTo>
                <a:lnTo>
                  <a:pt x="356362" y="0"/>
                </a:lnTo>
                <a:lnTo>
                  <a:pt x="307998" y="3252"/>
                </a:lnTo>
                <a:lnTo>
                  <a:pt x="261614" y="12727"/>
                </a:lnTo>
                <a:lnTo>
                  <a:pt x="217634" y="27999"/>
                </a:lnTo>
                <a:lnTo>
                  <a:pt x="176482" y="48645"/>
                </a:lnTo>
                <a:lnTo>
                  <a:pt x="138584" y="74241"/>
                </a:lnTo>
                <a:lnTo>
                  <a:pt x="104362" y="104362"/>
                </a:lnTo>
                <a:lnTo>
                  <a:pt x="74241" y="138584"/>
                </a:lnTo>
                <a:lnTo>
                  <a:pt x="48645" y="176482"/>
                </a:lnTo>
                <a:lnTo>
                  <a:pt x="27999" y="217634"/>
                </a:lnTo>
                <a:lnTo>
                  <a:pt x="12727" y="261614"/>
                </a:lnTo>
                <a:lnTo>
                  <a:pt x="3252" y="307998"/>
                </a:lnTo>
                <a:lnTo>
                  <a:pt x="0" y="356361"/>
                </a:lnTo>
                <a:lnTo>
                  <a:pt x="0" y="1781797"/>
                </a:lnTo>
                <a:lnTo>
                  <a:pt x="3252" y="1830156"/>
                </a:lnTo>
                <a:lnTo>
                  <a:pt x="12727" y="1876537"/>
                </a:lnTo>
                <a:lnTo>
                  <a:pt x="27999" y="1920516"/>
                </a:lnTo>
                <a:lnTo>
                  <a:pt x="48645" y="1961668"/>
                </a:lnTo>
                <a:lnTo>
                  <a:pt x="74241" y="1999569"/>
                </a:lnTo>
                <a:lnTo>
                  <a:pt x="104362" y="2033793"/>
                </a:lnTo>
                <a:lnTo>
                  <a:pt x="138584" y="2063918"/>
                </a:lnTo>
                <a:lnTo>
                  <a:pt x="176482" y="2089517"/>
                </a:lnTo>
                <a:lnTo>
                  <a:pt x="217634" y="2110166"/>
                </a:lnTo>
                <a:lnTo>
                  <a:pt x="261614" y="2125442"/>
                </a:lnTo>
                <a:lnTo>
                  <a:pt x="307998" y="2134918"/>
                </a:lnTo>
                <a:lnTo>
                  <a:pt x="356362" y="2138172"/>
                </a:lnTo>
                <a:lnTo>
                  <a:pt x="1885442" y="2138172"/>
                </a:lnTo>
                <a:lnTo>
                  <a:pt x="1933805" y="2134918"/>
                </a:lnTo>
                <a:lnTo>
                  <a:pt x="1980189" y="2125442"/>
                </a:lnTo>
                <a:lnTo>
                  <a:pt x="2024169" y="2110166"/>
                </a:lnTo>
                <a:lnTo>
                  <a:pt x="2065321" y="2089517"/>
                </a:lnTo>
                <a:lnTo>
                  <a:pt x="2103219" y="2063918"/>
                </a:lnTo>
                <a:lnTo>
                  <a:pt x="2137441" y="2033793"/>
                </a:lnTo>
                <a:lnTo>
                  <a:pt x="2167562" y="1999569"/>
                </a:lnTo>
                <a:lnTo>
                  <a:pt x="2193158" y="1961668"/>
                </a:lnTo>
                <a:lnTo>
                  <a:pt x="2213804" y="1920516"/>
                </a:lnTo>
                <a:lnTo>
                  <a:pt x="2229076" y="1876537"/>
                </a:lnTo>
                <a:lnTo>
                  <a:pt x="2238551" y="1830156"/>
                </a:lnTo>
                <a:lnTo>
                  <a:pt x="2241804" y="1781797"/>
                </a:lnTo>
                <a:lnTo>
                  <a:pt x="2241804" y="356361"/>
                </a:lnTo>
                <a:lnTo>
                  <a:pt x="2238551" y="307998"/>
                </a:lnTo>
                <a:lnTo>
                  <a:pt x="2229076" y="261614"/>
                </a:lnTo>
                <a:lnTo>
                  <a:pt x="2213804" y="217634"/>
                </a:lnTo>
                <a:lnTo>
                  <a:pt x="2193158" y="176482"/>
                </a:lnTo>
                <a:lnTo>
                  <a:pt x="2167562" y="138584"/>
                </a:lnTo>
                <a:lnTo>
                  <a:pt x="2137441" y="104362"/>
                </a:lnTo>
                <a:lnTo>
                  <a:pt x="2103219" y="74241"/>
                </a:lnTo>
                <a:lnTo>
                  <a:pt x="2065321" y="48645"/>
                </a:lnTo>
                <a:lnTo>
                  <a:pt x="2024169" y="27999"/>
                </a:lnTo>
                <a:lnTo>
                  <a:pt x="1980189" y="12727"/>
                </a:lnTo>
                <a:lnTo>
                  <a:pt x="1933805" y="3252"/>
                </a:lnTo>
                <a:lnTo>
                  <a:pt x="1885442" y="0"/>
                </a:lnTo>
                <a:close/>
              </a:path>
            </a:pathLst>
          </a:custGeom>
          <a:solidFill>
            <a:srgbClr val="00339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" name="object 11"/>
          <p:cNvSpPr/>
          <p:nvPr/>
        </p:nvSpPr>
        <p:spPr>
          <a:xfrm>
            <a:off x="2225801" y="4065270"/>
            <a:ext cx="2242185" cy="2138680"/>
          </a:xfrm>
          <a:custGeom>
            <a:avLst/>
            <a:gdLst/>
            <a:ahLst/>
            <a:cxnLst/>
            <a:rect l="l" t="t" r="r" b="b"/>
            <a:pathLst>
              <a:path w="2242185" h="2138679">
                <a:moveTo>
                  <a:pt x="0" y="356361"/>
                </a:moveTo>
                <a:lnTo>
                  <a:pt x="3252" y="307998"/>
                </a:lnTo>
                <a:lnTo>
                  <a:pt x="12727" y="261614"/>
                </a:lnTo>
                <a:lnTo>
                  <a:pt x="27999" y="217634"/>
                </a:lnTo>
                <a:lnTo>
                  <a:pt x="48645" y="176482"/>
                </a:lnTo>
                <a:lnTo>
                  <a:pt x="74241" y="138584"/>
                </a:lnTo>
                <a:lnTo>
                  <a:pt x="104362" y="104362"/>
                </a:lnTo>
                <a:lnTo>
                  <a:pt x="138584" y="74241"/>
                </a:lnTo>
                <a:lnTo>
                  <a:pt x="176482" y="48645"/>
                </a:lnTo>
                <a:lnTo>
                  <a:pt x="217634" y="27999"/>
                </a:lnTo>
                <a:lnTo>
                  <a:pt x="261614" y="12727"/>
                </a:lnTo>
                <a:lnTo>
                  <a:pt x="307998" y="3252"/>
                </a:lnTo>
                <a:lnTo>
                  <a:pt x="356362" y="0"/>
                </a:lnTo>
                <a:lnTo>
                  <a:pt x="1885442" y="0"/>
                </a:lnTo>
                <a:lnTo>
                  <a:pt x="1933805" y="3252"/>
                </a:lnTo>
                <a:lnTo>
                  <a:pt x="1980189" y="12727"/>
                </a:lnTo>
                <a:lnTo>
                  <a:pt x="2024169" y="27999"/>
                </a:lnTo>
                <a:lnTo>
                  <a:pt x="2065321" y="48645"/>
                </a:lnTo>
                <a:lnTo>
                  <a:pt x="2103219" y="74241"/>
                </a:lnTo>
                <a:lnTo>
                  <a:pt x="2137441" y="104362"/>
                </a:lnTo>
                <a:lnTo>
                  <a:pt x="2167562" y="138584"/>
                </a:lnTo>
                <a:lnTo>
                  <a:pt x="2193158" y="176482"/>
                </a:lnTo>
                <a:lnTo>
                  <a:pt x="2213804" y="217634"/>
                </a:lnTo>
                <a:lnTo>
                  <a:pt x="2229076" y="261614"/>
                </a:lnTo>
                <a:lnTo>
                  <a:pt x="2238551" y="307998"/>
                </a:lnTo>
                <a:lnTo>
                  <a:pt x="2241804" y="356361"/>
                </a:lnTo>
                <a:lnTo>
                  <a:pt x="2241804" y="1781797"/>
                </a:lnTo>
                <a:lnTo>
                  <a:pt x="2238551" y="1830156"/>
                </a:lnTo>
                <a:lnTo>
                  <a:pt x="2229076" y="1876537"/>
                </a:lnTo>
                <a:lnTo>
                  <a:pt x="2213804" y="1920516"/>
                </a:lnTo>
                <a:lnTo>
                  <a:pt x="2193158" y="1961668"/>
                </a:lnTo>
                <a:lnTo>
                  <a:pt x="2167562" y="1999569"/>
                </a:lnTo>
                <a:lnTo>
                  <a:pt x="2137441" y="2033793"/>
                </a:lnTo>
                <a:lnTo>
                  <a:pt x="2103219" y="2063918"/>
                </a:lnTo>
                <a:lnTo>
                  <a:pt x="2065321" y="2089517"/>
                </a:lnTo>
                <a:lnTo>
                  <a:pt x="2024169" y="2110166"/>
                </a:lnTo>
                <a:lnTo>
                  <a:pt x="1980189" y="2125442"/>
                </a:lnTo>
                <a:lnTo>
                  <a:pt x="1933805" y="2134918"/>
                </a:lnTo>
                <a:lnTo>
                  <a:pt x="1885442" y="2138172"/>
                </a:lnTo>
                <a:lnTo>
                  <a:pt x="356362" y="2138172"/>
                </a:lnTo>
                <a:lnTo>
                  <a:pt x="307998" y="2134918"/>
                </a:lnTo>
                <a:lnTo>
                  <a:pt x="261614" y="2125442"/>
                </a:lnTo>
                <a:lnTo>
                  <a:pt x="217634" y="2110166"/>
                </a:lnTo>
                <a:lnTo>
                  <a:pt x="176482" y="2089517"/>
                </a:lnTo>
                <a:lnTo>
                  <a:pt x="138584" y="2063918"/>
                </a:lnTo>
                <a:lnTo>
                  <a:pt x="104362" y="2033793"/>
                </a:lnTo>
                <a:lnTo>
                  <a:pt x="74241" y="1999569"/>
                </a:lnTo>
                <a:lnTo>
                  <a:pt x="48645" y="1961668"/>
                </a:lnTo>
                <a:lnTo>
                  <a:pt x="27999" y="1920516"/>
                </a:lnTo>
                <a:lnTo>
                  <a:pt x="12727" y="1876537"/>
                </a:lnTo>
                <a:lnTo>
                  <a:pt x="3252" y="1830156"/>
                </a:lnTo>
                <a:lnTo>
                  <a:pt x="0" y="1781797"/>
                </a:lnTo>
                <a:lnTo>
                  <a:pt x="0" y="356361"/>
                </a:lnTo>
                <a:close/>
              </a:path>
            </a:pathLst>
          </a:custGeom>
          <a:ln w="25908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" name="object 12"/>
          <p:cNvSpPr txBox="1"/>
          <p:nvPr/>
        </p:nvSpPr>
        <p:spPr>
          <a:xfrm>
            <a:off x="2404998" y="4119397"/>
            <a:ext cx="1880870" cy="2047997"/>
          </a:xfrm>
          <a:prstGeom prst="rect">
            <a:avLst/>
          </a:prstGeom>
        </p:spPr>
        <p:txBody>
          <a:bodyPr vert="horz" wrap="square" lIns="0" tIns="92710" rIns="0" bIns="0" rtlCol="0">
            <a:spAutoFit/>
          </a:bodyPr>
          <a:lstStyle/>
          <a:p>
            <a:pPr marL="1270" algn="ctr">
              <a:lnSpc>
                <a:spcPct val="100000"/>
              </a:lnSpc>
              <a:spcBef>
                <a:spcPts val="730"/>
              </a:spcBef>
            </a:pPr>
            <a:r>
              <a:rPr sz="1800" b="1" spc="-5" dirty="0">
                <a:solidFill>
                  <a:srgbClr val="FFFFFF"/>
                </a:solidFill>
                <a:latin typeface="Century Gothic"/>
                <a:cs typeface="Century Gothic"/>
              </a:rPr>
              <a:t>USE</a:t>
            </a:r>
            <a:endParaRPr sz="1800" dirty="0">
              <a:latin typeface="Century Gothic"/>
              <a:cs typeface="Century Gothic"/>
            </a:endParaRPr>
          </a:p>
          <a:p>
            <a:pPr marL="12065" marR="5080" algn="ctr">
              <a:spcBef>
                <a:spcPts val="810"/>
              </a:spcBef>
            </a:pPr>
            <a:r>
              <a:rPr sz="1700" dirty="0">
                <a:solidFill>
                  <a:srgbClr val="FFFFFF"/>
                </a:solidFill>
                <a:latin typeface="Century Gothic"/>
                <a:cs typeface="Century Gothic"/>
              </a:rPr>
              <a:t>Progress in  tracking </a:t>
            </a:r>
            <a:r>
              <a:rPr sz="1700" spc="-5" dirty="0">
                <a:solidFill>
                  <a:srgbClr val="FFFFFF"/>
                </a:solidFill>
                <a:latin typeface="Century Gothic"/>
                <a:cs typeface="Century Gothic"/>
              </a:rPr>
              <a:t>WAN</a:t>
            </a:r>
            <a:r>
              <a:rPr sz="1700" spc="-105" dirty="0">
                <a:solidFill>
                  <a:srgbClr val="FFFFFF"/>
                </a:solidFill>
                <a:latin typeface="Century Gothic"/>
                <a:cs typeface="Century Gothic"/>
              </a:rPr>
              <a:t> </a:t>
            </a:r>
            <a:r>
              <a:rPr sz="1700" dirty="0">
                <a:solidFill>
                  <a:srgbClr val="FFFFFF"/>
                </a:solidFill>
                <a:latin typeface="Century Gothic"/>
                <a:cs typeface="Century Gothic"/>
              </a:rPr>
              <a:t>use</a:t>
            </a:r>
            <a:endParaRPr sz="1700" dirty="0">
              <a:latin typeface="Century Gothic"/>
              <a:cs typeface="Century Gothic"/>
            </a:endParaRPr>
          </a:p>
          <a:p>
            <a:pPr marL="60960" marR="54610" indent="59690" algn="ctr">
              <a:spcBef>
                <a:spcPts val="750"/>
              </a:spcBef>
            </a:pPr>
            <a:endParaRPr lang="en-US" sz="400" dirty="0">
              <a:solidFill>
                <a:srgbClr val="FFFFFF"/>
              </a:solidFill>
              <a:latin typeface="Century Gothic"/>
              <a:cs typeface="Century Gothic"/>
            </a:endParaRPr>
          </a:p>
          <a:p>
            <a:pPr marL="60960" marR="54610" indent="59690" algn="ctr">
              <a:spcBef>
                <a:spcPts val="750"/>
              </a:spcBef>
            </a:pPr>
            <a:r>
              <a:rPr sz="1700" dirty="0">
                <a:solidFill>
                  <a:srgbClr val="FFFFFF"/>
                </a:solidFill>
                <a:latin typeface="Century Gothic"/>
                <a:cs typeface="Century Gothic"/>
              </a:rPr>
              <a:t>Teacher  integration </a:t>
            </a:r>
            <a:r>
              <a:rPr sz="1700" spc="-10" dirty="0">
                <a:solidFill>
                  <a:srgbClr val="FFFFFF"/>
                </a:solidFill>
                <a:latin typeface="Century Gothic"/>
                <a:cs typeface="Century Gothic"/>
              </a:rPr>
              <a:t>to</a:t>
            </a:r>
            <a:r>
              <a:rPr sz="1700" spc="-105" dirty="0">
                <a:solidFill>
                  <a:srgbClr val="FFFFFF"/>
                </a:solidFill>
                <a:latin typeface="Century Gothic"/>
                <a:cs typeface="Century Gothic"/>
              </a:rPr>
              <a:t> </a:t>
            </a:r>
            <a:r>
              <a:rPr sz="1700" spc="-5" dirty="0">
                <a:solidFill>
                  <a:srgbClr val="FFFFFF"/>
                </a:solidFill>
                <a:latin typeface="Century Gothic"/>
                <a:cs typeface="Century Gothic"/>
              </a:rPr>
              <a:t>be  </a:t>
            </a:r>
            <a:r>
              <a:rPr lang="en-US" sz="1700" spc="-5" dirty="0">
                <a:solidFill>
                  <a:srgbClr val="FFFFFF"/>
                </a:solidFill>
                <a:latin typeface="Century Gothic"/>
                <a:cs typeface="Century Gothic"/>
              </a:rPr>
              <a:t>advocated </a:t>
            </a:r>
            <a:endParaRPr sz="1700" dirty="0">
              <a:latin typeface="Century Gothic"/>
              <a:cs typeface="Century Gothic"/>
            </a:endParaRPr>
          </a:p>
        </p:txBody>
      </p:sp>
      <p:sp>
        <p:nvSpPr>
          <p:cNvPr id="13" name="object 13"/>
          <p:cNvSpPr/>
          <p:nvPr/>
        </p:nvSpPr>
        <p:spPr>
          <a:xfrm>
            <a:off x="4955285" y="4065270"/>
            <a:ext cx="2243455" cy="2138680"/>
          </a:xfrm>
          <a:custGeom>
            <a:avLst/>
            <a:gdLst/>
            <a:ahLst/>
            <a:cxnLst/>
            <a:rect l="l" t="t" r="r" b="b"/>
            <a:pathLst>
              <a:path w="2243454" h="2138679">
                <a:moveTo>
                  <a:pt x="1886965" y="0"/>
                </a:moveTo>
                <a:lnTo>
                  <a:pt x="356362" y="0"/>
                </a:lnTo>
                <a:lnTo>
                  <a:pt x="307998" y="3252"/>
                </a:lnTo>
                <a:lnTo>
                  <a:pt x="261614" y="12727"/>
                </a:lnTo>
                <a:lnTo>
                  <a:pt x="217634" y="27999"/>
                </a:lnTo>
                <a:lnTo>
                  <a:pt x="176482" y="48645"/>
                </a:lnTo>
                <a:lnTo>
                  <a:pt x="138584" y="74241"/>
                </a:lnTo>
                <a:lnTo>
                  <a:pt x="104362" y="104362"/>
                </a:lnTo>
                <a:lnTo>
                  <a:pt x="74241" y="138584"/>
                </a:lnTo>
                <a:lnTo>
                  <a:pt x="48645" y="176482"/>
                </a:lnTo>
                <a:lnTo>
                  <a:pt x="27999" y="217634"/>
                </a:lnTo>
                <a:lnTo>
                  <a:pt x="12727" y="261614"/>
                </a:lnTo>
                <a:lnTo>
                  <a:pt x="3252" y="307998"/>
                </a:lnTo>
                <a:lnTo>
                  <a:pt x="0" y="356361"/>
                </a:lnTo>
                <a:lnTo>
                  <a:pt x="0" y="1781797"/>
                </a:lnTo>
                <a:lnTo>
                  <a:pt x="3252" y="1830156"/>
                </a:lnTo>
                <a:lnTo>
                  <a:pt x="12727" y="1876537"/>
                </a:lnTo>
                <a:lnTo>
                  <a:pt x="27999" y="1920516"/>
                </a:lnTo>
                <a:lnTo>
                  <a:pt x="48645" y="1961668"/>
                </a:lnTo>
                <a:lnTo>
                  <a:pt x="74241" y="1999569"/>
                </a:lnTo>
                <a:lnTo>
                  <a:pt x="104362" y="2033793"/>
                </a:lnTo>
                <a:lnTo>
                  <a:pt x="138584" y="2063918"/>
                </a:lnTo>
                <a:lnTo>
                  <a:pt x="176482" y="2089517"/>
                </a:lnTo>
                <a:lnTo>
                  <a:pt x="217634" y="2110166"/>
                </a:lnTo>
                <a:lnTo>
                  <a:pt x="261614" y="2125442"/>
                </a:lnTo>
                <a:lnTo>
                  <a:pt x="307998" y="2134918"/>
                </a:lnTo>
                <a:lnTo>
                  <a:pt x="356362" y="2138172"/>
                </a:lnTo>
                <a:lnTo>
                  <a:pt x="1886965" y="2138172"/>
                </a:lnTo>
                <a:lnTo>
                  <a:pt x="1935329" y="2134918"/>
                </a:lnTo>
                <a:lnTo>
                  <a:pt x="1981713" y="2125442"/>
                </a:lnTo>
                <a:lnTo>
                  <a:pt x="2025693" y="2110166"/>
                </a:lnTo>
                <a:lnTo>
                  <a:pt x="2066845" y="2089517"/>
                </a:lnTo>
                <a:lnTo>
                  <a:pt x="2104743" y="2063918"/>
                </a:lnTo>
                <a:lnTo>
                  <a:pt x="2138965" y="2033793"/>
                </a:lnTo>
                <a:lnTo>
                  <a:pt x="2169086" y="1999569"/>
                </a:lnTo>
                <a:lnTo>
                  <a:pt x="2194682" y="1961668"/>
                </a:lnTo>
                <a:lnTo>
                  <a:pt x="2215328" y="1920516"/>
                </a:lnTo>
                <a:lnTo>
                  <a:pt x="2230600" y="1876537"/>
                </a:lnTo>
                <a:lnTo>
                  <a:pt x="2240075" y="1830156"/>
                </a:lnTo>
                <a:lnTo>
                  <a:pt x="2243328" y="1781797"/>
                </a:lnTo>
                <a:lnTo>
                  <a:pt x="2243328" y="356361"/>
                </a:lnTo>
                <a:lnTo>
                  <a:pt x="2240075" y="307998"/>
                </a:lnTo>
                <a:lnTo>
                  <a:pt x="2230600" y="261614"/>
                </a:lnTo>
                <a:lnTo>
                  <a:pt x="2215328" y="217634"/>
                </a:lnTo>
                <a:lnTo>
                  <a:pt x="2194682" y="176482"/>
                </a:lnTo>
                <a:lnTo>
                  <a:pt x="2169086" y="138584"/>
                </a:lnTo>
                <a:lnTo>
                  <a:pt x="2138965" y="104362"/>
                </a:lnTo>
                <a:lnTo>
                  <a:pt x="2104743" y="74241"/>
                </a:lnTo>
                <a:lnTo>
                  <a:pt x="2066845" y="48645"/>
                </a:lnTo>
                <a:lnTo>
                  <a:pt x="2025693" y="27999"/>
                </a:lnTo>
                <a:lnTo>
                  <a:pt x="1981713" y="12727"/>
                </a:lnTo>
                <a:lnTo>
                  <a:pt x="1935329" y="3252"/>
                </a:lnTo>
                <a:lnTo>
                  <a:pt x="1886965" y="0"/>
                </a:lnTo>
                <a:close/>
              </a:path>
            </a:pathLst>
          </a:custGeom>
          <a:solidFill>
            <a:srgbClr val="003399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4" name="object 14"/>
          <p:cNvSpPr/>
          <p:nvPr/>
        </p:nvSpPr>
        <p:spPr>
          <a:xfrm>
            <a:off x="4955285" y="4065270"/>
            <a:ext cx="2243455" cy="2138680"/>
          </a:xfrm>
          <a:custGeom>
            <a:avLst/>
            <a:gdLst/>
            <a:ahLst/>
            <a:cxnLst/>
            <a:rect l="l" t="t" r="r" b="b"/>
            <a:pathLst>
              <a:path w="2243454" h="2138679">
                <a:moveTo>
                  <a:pt x="0" y="356361"/>
                </a:moveTo>
                <a:lnTo>
                  <a:pt x="3252" y="307998"/>
                </a:lnTo>
                <a:lnTo>
                  <a:pt x="12727" y="261614"/>
                </a:lnTo>
                <a:lnTo>
                  <a:pt x="27999" y="217634"/>
                </a:lnTo>
                <a:lnTo>
                  <a:pt x="48645" y="176482"/>
                </a:lnTo>
                <a:lnTo>
                  <a:pt x="74241" y="138584"/>
                </a:lnTo>
                <a:lnTo>
                  <a:pt x="104362" y="104362"/>
                </a:lnTo>
                <a:lnTo>
                  <a:pt x="138584" y="74241"/>
                </a:lnTo>
                <a:lnTo>
                  <a:pt x="176482" y="48645"/>
                </a:lnTo>
                <a:lnTo>
                  <a:pt x="217634" y="27999"/>
                </a:lnTo>
                <a:lnTo>
                  <a:pt x="261614" y="12727"/>
                </a:lnTo>
                <a:lnTo>
                  <a:pt x="307998" y="3252"/>
                </a:lnTo>
                <a:lnTo>
                  <a:pt x="356362" y="0"/>
                </a:lnTo>
                <a:lnTo>
                  <a:pt x="1886965" y="0"/>
                </a:lnTo>
                <a:lnTo>
                  <a:pt x="1935329" y="3252"/>
                </a:lnTo>
                <a:lnTo>
                  <a:pt x="1981713" y="12727"/>
                </a:lnTo>
                <a:lnTo>
                  <a:pt x="2025693" y="27999"/>
                </a:lnTo>
                <a:lnTo>
                  <a:pt x="2066845" y="48645"/>
                </a:lnTo>
                <a:lnTo>
                  <a:pt x="2104743" y="74241"/>
                </a:lnTo>
                <a:lnTo>
                  <a:pt x="2138965" y="104362"/>
                </a:lnTo>
                <a:lnTo>
                  <a:pt x="2169086" y="138584"/>
                </a:lnTo>
                <a:lnTo>
                  <a:pt x="2194682" y="176482"/>
                </a:lnTo>
                <a:lnTo>
                  <a:pt x="2215328" y="217634"/>
                </a:lnTo>
                <a:lnTo>
                  <a:pt x="2230600" y="261614"/>
                </a:lnTo>
                <a:lnTo>
                  <a:pt x="2240075" y="307998"/>
                </a:lnTo>
                <a:lnTo>
                  <a:pt x="2243328" y="356361"/>
                </a:lnTo>
                <a:lnTo>
                  <a:pt x="2243328" y="1781797"/>
                </a:lnTo>
                <a:lnTo>
                  <a:pt x="2240075" y="1830156"/>
                </a:lnTo>
                <a:lnTo>
                  <a:pt x="2230600" y="1876537"/>
                </a:lnTo>
                <a:lnTo>
                  <a:pt x="2215328" y="1920516"/>
                </a:lnTo>
                <a:lnTo>
                  <a:pt x="2194682" y="1961668"/>
                </a:lnTo>
                <a:lnTo>
                  <a:pt x="2169086" y="1999569"/>
                </a:lnTo>
                <a:lnTo>
                  <a:pt x="2138965" y="2033793"/>
                </a:lnTo>
                <a:lnTo>
                  <a:pt x="2104743" y="2063918"/>
                </a:lnTo>
                <a:lnTo>
                  <a:pt x="2066845" y="2089517"/>
                </a:lnTo>
                <a:lnTo>
                  <a:pt x="2025693" y="2110166"/>
                </a:lnTo>
                <a:lnTo>
                  <a:pt x="1981713" y="2125442"/>
                </a:lnTo>
                <a:lnTo>
                  <a:pt x="1935329" y="2134918"/>
                </a:lnTo>
                <a:lnTo>
                  <a:pt x="1886965" y="2138172"/>
                </a:lnTo>
                <a:lnTo>
                  <a:pt x="356362" y="2138172"/>
                </a:lnTo>
                <a:lnTo>
                  <a:pt x="307998" y="2134918"/>
                </a:lnTo>
                <a:lnTo>
                  <a:pt x="261614" y="2125442"/>
                </a:lnTo>
                <a:lnTo>
                  <a:pt x="217634" y="2110166"/>
                </a:lnTo>
                <a:lnTo>
                  <a:pt x="176482" y="2089517"/>
                </a:lnTo>
                <a:lnTo>
                  <a:pt x="138584" y="2063918"/>
                </a:lnTo>
                <a:lnTo>
                  <a:pt x="104362" y="2033793"/>
                </a:lnTo>
                <a:lnTo>
                  <a:pt x="74241" y="1999569"/>
                </a:lnTo>
                <a:lnTo>
                  <a:pt x="48645" y="1961668"/>
                </a:lnTo>
                <a:lnTo>
                  <a:pt x="27999" y="1920516"/>
                </a:lnTo>
                <a:lnTo>
                  <a:pt x="12727" y="1876537"/>
                </a:lnTo>
                <a:lnTo>
                  <a:pt x="3252" y="1830156"/>
                </a:lnTo>
                <a:lnTo>
                  <a:pt x="0" y="1781797"/>
                </a:lnTo>
                <a:lnTo>
                  <a:pt x="0" y="356361"/>
                </a:lnTo>
                <a:close/>
              </a:path>
            </a:pathLst>
          </a:custGeom>
          <a:ln w="25908">
            <a:solidFill>
              <a:srgbClr val="FFFFFF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15"/>
          <p:cNvSpPr txBox="1"/>
          <p:nvPr/>
        </p:nvSpPr>
        <p:spPr>
          <a:xfrm>
            <a:off x="5105400" y="4199890"/>
            <a:ext cx="1981199" cy="2264723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635" algn="ctr">
              <a:spcBef>
                <a:spcPts val="100"/>
              </a:spcBef>
            </a:pPr>
            <a:r>
              <a:rPr sz="1800" b="1" dirty="0">
                <a:solidFill>
                  <a:srgbClr val="FFFFFF"/>
                </a:solidFill>
                <a:latin typeface="Century Gothic"/>
                <a:cs typeface="Century Gothic"/>
              </a:rPr>
              <a:t>INSTITUTIONAL</a:t>
            </a:r>
            <a:endParaRPr sz="1800" dirty="0">
              <a:latin typeface="Century Gothic"/>
              <a:cs typeface="Century Gothic"/>
            </a:endParaRPr>
          </a:p>
          <a:p>
            <a:pPr>
              <a:spcBef>
                <a:spcPts val="25"/>
              </a:spcBef>
            </a:pPr>
            <a:endParaRPr sz="1100" dirty="0">
              <a:latin typeface="Times New Roman"/>
              <a:cs typeface="Times New Roman"/>
            </a:endParaRPr>
          </a:p>
          <a:p>
            <a:pPr algn="ctr">
              <a:spcBef>
                <a:spcPts val="5"/>
              </a:spcBef>
            </a:pPr>
            <a:r>
              <a:rPr lang="en-US" sz="1700" dirty="0">
                <a:solidFill>
                  <a:srgbClr val="FFFFFF"/>
                </a:solidFill>
                <a:latin typeface="Century Gothic"/>
                <a:cs typeface="Century Gothic"/>
              </a:rPr>
              <a:t>WCED prioritizes e-Education </a:t>
            </a:r>
          </a:p>
          <a:p>
            <a:pPr algn="ctr">
              <a:lnSpc>
                <a:spcPts val="1955"/>
              </a:lnSpc>
              <a:spcBef>
                <a:spcPts val="5"/>
              </a:spcBef>
            </a:pPr>
            <a:endParaRPr lang="en-US" sz="1700" dirty="0">
              <a:solidFill>
                <a:srgbClr val="FFFFFF"/>
              </a:solidFill>
              <a:latin typeface="Century Gothic"/>
              <a:cs typeface="Century Gothic"/>
            </a:endParaRPr>
          </a:p>
          <a:p>
            <a:pPr algn="ctr">
              <a:lnSpc>
                <a:spcPts val="1955"/>
              </a:lnSpc>
              <a:spcBef>
                <a:spcPts val="5"/>
              </a:spcBef>
            </a:pPr>
            <a:r>
              <a:rPr lang="en-US" sz="1700" dirty="0">
                <a:solidFill>
                  <a:srgbClr val="FFFFFF"/>
                </a:solidFill>
                <a:latin typeface="Century Gothic"/>
                <a:cs typeface="Century Gothic"/>
              </a:rPr>
              <a:t>WCG </a:t>
            </a:r>
            <a:r>
              <a:rPr lang="en-US" sz="1700" dirty="0" err="1">
                <a:solidFill>
                  <a:srgbClr val="FFFFFF"/>
                </a:solidFill>
                <a:latin typeface="Century Gothic"/>
                <a:cs typeface="Century Gothic"/>
              </a:rPr>
              <a:t>BroadBand</a:t>
            </a:r>
            <a:r>
              <a:rPr lang="en-US" sz="1700" dirty="0">
                <a:solidFill>
                  <a:srgbClr val="FFFFFF"/>
                </a:solidFill>
                <a:latin typeface="Century Gothic"/>
                <a:cs typeface="Century Gothic"/>
              </a:rPr>
              <a:t> reaches 84% of schools</a:t>
            </a:r>
          </a:p>
          <a:p>
            <a:pPr algn="ctr">
              <a:lnSpc>
                <a:spcPts val="1955"/>
              </a:lnSpc>
              <a:spcBef>
                <a:spcPts val="5"/>
              </a:spcBef>
            </a:pPr>
            <a:endParaRPr sz="1700" dirty="0">
              <a:latin typeface="Century Gothic"/>
              <a:cs typeface="Century Gothic"/>
            </a:endParaRPr>
          </a:p>
        </p:txBody>
      </p:sp>
      <p:sp>
        <p:nvSpPr>
          <p:cNvPr id="16" name="object 16"/>
          <p:cNvSpPr txBox="1"/>
          <p:nvPr/>
        </p:nvSpPr>
        <p:spPr>
          <a:xfrm>
            <a:off x="8804020" y="6536172"/>
            <a:ext cx="114300" cy="16573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25400">
              <a:lnSpc>
                <a:spcPct val="100000"/>
              </a:lnSpc>
              <a:spcBef>
                <a:spcPts val="105"/>
              </a:spcBef>
            </a:pPr>
            <a:fld id="{81D60167-4931-47E6-BA6A-407CBD079E47}" type="slidenum">
              <a:rPr sz="900" dirty="0">
                <a:solidFill>
                  <a:srgbClr val="003399"/>
                </a:solidFill>
                <a:latin typeface="Century Gothic"/>
                <a:cs typeface="Century Gothic"/>
              </a:rPr>
              <a:pPr marL="25400">
                <a:lnSpc>
                  <a:spcPct val="100000"/>
                </a:lnSpc>
                <a:spcBef>
                  <a:spcPts val="105"/>
                </a:spcBef>
              </a:pPr>
              <a:t>9</a:t>
            </a:fld>
            <a:endParaRPr sz="900">
              <a:latin typeface="Century Gothic"/>
              <a:cs typeface="Century Gothic"/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FU8dMoM0esyVn7WNQT3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WCG-New PPT Master-01112012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17_WCG-New PPT Master-01112012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5_Office Theme">
  <a:themeElements>
    <a:clrScheme name="Office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accent1">
                <a:tint val="100000"/>
                <a:shade val="100000"/>
                <a:satMod val="130000"/>
              </a:schemeClr>
            </a:gs>
            <a:gs pos="100000">
              <a:schemeClr val="accent1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6_Office Theme">
  <a:themeElements>
    <a:clrScheme name="Custom 1">
      <a:dk1>
        <a:srgbClr val="000000"/>
      </a:dk1>
      <a:lt1>
        <a:sysClr val="window" lastClr="FFFFFF"/>
      </a:lt1>
      <a:dk2>
        <a:srgbClr val="B24979"/>
      </a:dk2>
      <a:lt2>
        <a:srgbClr val="D5B02A"/>
      </a:lt2>
      <a:accent1>
        <a:srgbClr val="CC5F1E"/>
      </a:accent1>
      <a:accent2>
        <a:srgbClr val="009FDA"/>
      </a:accent2>
      <a:accent3>
        <a:srgbClr val="8052B9"/>
      </a:accent3>
      <a:accent4>
        <a:srgbClr val="5BA137"/>
      </a:accent4>
      <a:accent5>
        <a:srgbClr val="324FBA"/>
      </a:accent5>
      <a:accent6>
        <a:srgbClr val="B52825"/>
      </a:accent6>
      <a:hlink>
        <a:srgbClr val="638F54"/>
      </a:hlink>
      <a:folHlink>
        <a:srgbClr val="6D6D6D"/>
      </a:folHlink>
    </a:clrScheme>
    <a:fontScheme name="Essential">
      <a:majorFont>
        <a:latin typeface="Arial Black"/>
        <a:ea typeface=""/>
        <a:cs typeface=""/>
        <a:font script="Jpan" typeface="ＭＳ Ｐゴシック"/>
        <a:font script="Hang" typeface="HY견고딕"/>
        <a:font script="Hans" typeface="微软雅黑"/>
        <a:font script="Hant" typeface="微軟正黑體"/>
        <a:font script="Arab" typeface="Tahoma"/>
        <a:font script="Hebr" typeface="Tahoma"/>
        <a:font script="Thai" typeface="Tahoma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9_WCG-New PPT Master-01112012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19_WCG-New PPT Master-01112012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6_WCG-New PPT Master-01112012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9.xml><?xml version="1.0" encoding="utf-8"?>
<a:theme xmlns:a="http://schemas.openxmlformats.org/drawingml/2006/main" name="5_WCG-New PPT Master-01112012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09</TotalTime>
  <Words>2099</Words>
  <Application>Microsoft Office PowerPoint</Application>
  <PresentationFormat>On-screen Show (4:3)</PresentationFormat>
  <Paragraphs>413</Paragraphs>
  <Slides>23</Slides>
  <Notes>4</Notes>
  <HiddenSlides>0</HiddenSlides>
  <MMClips>0</MMClips>
  <ScaleCrop>false</ScaleCrop>
  <HeadingPairs>
    <vt:vector size="6" baseType="variant">
      <vt:variant>
        <vt:lpstr>Theme</vt:lpstr>
      </vt:variant>
      <vt:variant>
        <vt:i4>9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3" baseType="lpstr">
      <vt:lpstr>Office Theme</vt:lpstr>
      <vt:lpstr>WCG-New PPT Master-01112012</vt:lpstr>
      <vt:lpstr>17_WCG-New PPT Master-01112012</vt:lpstr>
      <vt:lpstr>5_Office Theme</vt:lpstr>
      <vt:lpstr>6_Office Theme</vt:lpstr>
      <vt:lpstr>9_WCG-New PPT Master-01112012</vt:lpstr>
      <vt:lpstr>19_WCG-New PPT Master-01112012</vt:lpstr>
      <vt:lpstr>6_WCG-New PPT Master-01112012</vt:lpstr>
      <vt:lpstr>5_WCG-New PPT Master-01112012</vt:lpstr>
      <vt:lpstr>think-cell Slide</vt:lpstr>
      <vt:lpstr>Slide 1</vt:lpstr>
      <vt:lpstr>Slide 2</vt:lpstr>
      <vt:lpstr>Slide 3</vt:lpstr>
      <vt:lpstr>Slide 4</vt:lpstr>
      <vt:lpstr>3 x Evolving categories of Roll-out across 6 x streams</vt:lpstr>
      <vt:lpstr>Slide 6</vt:lpstr>
      <vt:lpstr>Slide 7</vt:lpstr>
      <vt:lpstr>Slide 8</vt:lpstr>
      <vt:lpstr>Overall progress on eLearning Strategy</vt:lpstr>
      <vt:lpstr>Slide 10</vt:lpstr>
      <vt:lpstr>Slide 11</vt:lpstr>
      <vt:lpstr>Slide 12</vt:lpstr>
      <vt:lpstr>Slide 13</vt:lpstr>
      <vt:lpstr>Slide 14</vt:lpstr>
      <vt:lpstr>Slide 15</vt:lpstr>
      <vt:lpstr>Slide 16</vt:lpstr>
      <vt:lpstr>Assessing the AS IS ‘Stage of Delivery’</vt:lpstr>
      <vt:lpstr>What worked vs What did not work </vt:lpstr>
      <vt:lpstr>A - Directorate eLearning </vt:lpstr>
      <vt:lpstr>Slide 20</vt:lpstr>
      <vt:lpstr>Slide 21</vt:lpstr>
      <vt:lpstr>Slide 22</vt:lpstr>
      <vt:lpstr>Slide 23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Cabral</dc:creator>
  <cp:keywords>POTX</cp:keywords>
  <cp:lastModifiedBy>PUMZA</cp:lastModifiedBy>
  <cp:revision>36</cp:revision>
  <dcterms:created xsi:type="dcterms:W3CDTF">2019-08-04T11:52:49Z</dcterms:created>
  <dcterms:modified xsi:type="dcterms:W3CDTF">2019-08-08T09:44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19-05-09T00:00:00Z</vt:filetime>
  </property>
  <property fmtid="{D5CDD505-2E9C-101B-9397-08002B2CF9AE}" pid="3" name="Creator">
    <vt:lpwstr>Microsoft® PowerPoint® 2016</vt:lpwstr>
  </property>
  <property fmtid="{D5CDD505-2E9C-101B-9397-08002B2CF9AE}" pid="4" name="LastSaved">
    <vt:filetime>2019-08-04T00:00:00Z</vt:filetime>
  </property>
</Properties>
</file>